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4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5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8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9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66" r:id="rId1"/>
    <p:sldMasterId id="2147483769" r:id="rId2"/>
    <p:sldMasterId id="2147483772" r:id="rId3"/>
    <p:sldMasterId id="2147483794" r:id="rId4"/>
    <p:sldMasterId id="2147483803" r:id="rId5"/>
    <p:sldMasterId id="2147483811" r:id="rId6"/>
    <p:sldMasterId id="2147483780" r:id="rId7"/>
    <p:sldMasterId id="2147483831" r:id="rId8"/>
    <p:sldMasterId id="2147483844" r:id="rId9"/>
    <p:sldMasterId id="2147483860" r:id="rId10"/>
  </p:sldMasterIdLst>
  <p:notesMasterIdLst>
    <p:notesMasterId r:id="rId42"/>
  </p:notesMasterIdLst>
  <p:handoutMasterIdLst>
    <p:handoutMasterId r:id="rId43"/>
  </p:handoutMasterIdLst>
  <p:sldIdLst>
    <p:sldId id="264" r:id="rId11"/>
    <p:sldId id="554" r:id="rId12"/>
    <p:sldId id="555" r:id="rId13"/>
    <p:sldId id="556" r:id="rId14"/>
    <p:sldId id="557" r:id="rId15"/>
    <p:sldId id="558" r:id="rId16"/>
    <p:sldId id="559" r:id="rId17"/>
    <p:sldId id="560" r:id="rId18"/>
    <p:sldId id="561" r:id="rId19"/>
    <p:sldId id="562" r:id="rId20"/>
    <p:sldId id="563" r:id="rId21"/>
    <p:sldId id="564" r:id="rId22"/>
    <p:sldId id="565" r:id="rId23"/>
    <p:sldId id="566" r:id="rId24"/>
    <p:sldId id="567" r:id="rId25"/>
    <p:sldId id="568" r:id="rId26"/>
    <p:sldId id="569" r:id="rId27"/>
    <p:sldId id="570" r:id="rId28"/>
    <p:sldId id="571" r:id="rId29"/>
    <p:sldId id="572" r:id="rId30"/>
    <p:sldId id="573" r:id="rId31"/>
    <p:sldId id="574" r:id="rId32"/>
    <p:sldId id="575" r:id="rId33"/>
    <p:sldId id="576" r:id="rId34"/>
    <p:sldId id="577" r:id="rId35"/>
    <p:sldId id="579" r:id="rId36"/>
    <p:sldId id="580" r:id="rId37"/>
    <p:sldId id="581" r:id="rId38"/>
    <p:sldId id="582" r:id="rId39"/>
    <p:sldId id="583" r:id="rId40"/>
    <p:sldId id="578" r:id="rId41"/>
  </p:sldIdLst>
  <p:sldSz cx="9144000" cy="514826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1" userDrawn="1">
          <p15:clr>
            <a:srgbClr val="A4A3A4"/>
          </p15:clr>
        </p15:guide>
        <p15:guide id="2" pos="363" userDrawn="1">
          <p15:clr>
            <a:srgbClr val="A4A3A4"/>
          </p15:clr>
        </p15:guide>
        <p15:guide id="3" orient="horz" pos="3028" userDrawn="1">
          <p15:clr>
            <a:srgbClr val="A4A3A4"/>
          </p15:clr>
        </p15:guide>
        <p15:guide id="4" pos="5511" userDrawn="1">
          <p15:clr>
            <a:srgbClr val="A4A3A4"/>
          </p15:clr>
        </p15:guide>
        <p15:guide id="5" orient="horz" pos="272">
          <p15:clr>
            <a:srgbClr val="A4A3A4"/>
          </p15:clr>
        </p15:guide>
        <p15:guide id="6" orient="horz" pos="2971">
          <p15:clr>
            <a:srgbClr val="A4A3A4"/>
          </p15:clr>
        </p15:guide>
        <p15:guide id="7" orient="horz" pos="930">
          <p15:clr>
            <a:srgbClr val="A4A3A4"/>
          </p15:clr>
        </p15:guide>
        <p15:guide id="8" orient="horz" pos="1337">
          <p15:clr>
            <a:srgbClr val="A4A3A4"/>
          </p15:clr>
        </p15:guide>
        <p15:guide id="9" orient="horz" pos="2086">
          <p15:clr>
            <a:srgbClr val="A4A3A4"/>
          </p15:clr>
        </p15:guide>
        <p15:guide id="10" pos="2331">
          <p15:clr>
            <a:srgbClr val="A4A3A4"/>
          </p15:clr>
        </p15:guide>
        <p15:guide id="11" pos="726">
          <p15:clr>
            <a:srgbClr val="A4A3A4"/>
          </p15:clr>
        </p15:guide>
        <p15:guide id="12" pos="875">
          <p15:clr>
            <a:srgbClr val="A4A3A4"/>
          </p15:clr>
        </p15:guide>
        <p15:guide id="13" pos="1260">
          <p15:clr>
            <a:srgbClr val="A4A3A4"/>
          </p15:clr>
        </p15:guide>
        <p15:guide id="14" pos="1410">
          <p15:clr>
            <a:srgbClr val="A4A3A4"/>
          </p15:clr>
        </p15:guide>
        <p15:guide id="15" pos="1796">
          <p15:clr>
            <a:srgbClr val="A4A3A4"/>
          </p15:clr>
        </p15:guide>
        <p15:guide id="16" pos="1944">
          <p15:clr>
            <a:srgbClr val="A4A3A4"/>
          </p15:clr>
        </p15:guide>
        <p15:guide id="17" pos="2481">
          <p15:clr>
            <a:srgbClr val="A4A3A4"/>
          </p15:clr>
        </p15:guide>
        <p15:guide id="18" pos="2869">
          <p15:clr>
            <a:srgbClr val="A4A3A4"/>
          </p15:clr>
        </p15:guide>
        <p15:guide id="19" pos="3029">
          <p15:clr>
            <a:srgbClr val="A4A3A4"/>
          </p15:clr>
        </p15:guide>
        <p15:guide id="20" pos="3402">
          <p15:clr>
            <a:srgbClr val="A4A3A4"/>
          </p15:clr>
        </p15:guide>
        <p15:guide id="21" pos="3552">
          <p15:clr>
            <a:srgbClr val="A4A3A4"/>
          </p15:clr>
        </p15:guide>
        <p15:guide id="22" pos="3938">
          <p15:clr>
            <a:srgbClr val="A4A3A4"/>
          </p15:clr>
        </p15:guide>
        <p15:guide id="23" pos="4086">
          <p15:clr>
            <a:srgbClr val="A4A3A4"/>
          </p15:clr>
        </p15:guide>
        <p15:guide id="24" pos="4473">
          <p15:clr>
            <a:srgbClr val="A4A3A4"/>
          </p15:clr>
        </p15:guide>
        <p15:guide id="25" pos="4621">
          <p15:clr>
            <a:srgbClr val="A4A3A4"/>
          </p15:clr>
        </p15:guide>
        <p15:guide id="26" pos="5008">
          <p15:clr>
            <a:srgbClr val="A4A3A4"/>
          </p15:clr>
        </p15:guide>
        <p15:guide id="27" pos="5157">
          <p15:clr>
            <a:srgbClr val="A4A3A4"/>
          </p15:clr>
        </p15:guide>
        <p15:guide id="28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333333"/>
    <a:srgbClr val="2121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41" autoAdjust="0"/>
    <p:restoredTop sz="86419" autoAdjust="0"/>
  </p:normalViewPr>
  <p:slideViewPr>
    <p:cSldViewPr snapToGrid="0">
      <p:cViewPr varScale="1">
        <p:scale>
          <a:sx n="116" d="100"/>
          <a:sy n="116" d="100"/>
        </p:scale>
        <p:origin x="456" y="77"/>
      </p:cViewPr>
      <p:guideLst>
        <p:guide orient="horz" pos="261"/>
        <p:guide pos="363"/>
        <p:guide orient="horz" pos="3028"/>
        <p:guide pos="5511"/>
        <p:guide orient="horz" pos="272"/>
        <p:guide orient="horz" pos="2971"/>
        <p:guide orient="horz" pos="930"/>
        <p:guide orient="horz" pos="1337"/>
        <p:guide orient="horz" pos="2086"/>
        <p:guide pos="2331"/>
        <p:guide pos="726"/>
        <p:guide pos="875"/>
        <p:guide pos="1260"/>
        <p:guide pos="1410"/>
        <p:guide pos="1796"/>
        <p:guide pos="1944"/>
        <p:guide pos="2481"/>
        <p:guide pos="2869"/>
        <p:guide pos="3029"/>
        <p:guide pos="3402"/>
        <p:guide pos="3552"/>
        <p:guide pos="3938"/>
        <p:guide pos="4086"/>
        <p:guide pos="4473"/>
        <p:guide pos="4621"/>
        <p:guide pos="5008"/>
        <p:guide pos="5157"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172" d="100"/>
          <a:sy n="172" d="100"/>
        </p:scale>
        <p:origin x="6552" y="208"/>
      </p:cViewPr>
      <p:guideLst>
        <p:guide orient="horz" pos="2880"/>
        <p:guide pos="2160"/>
      </p:guideLst>
    </p:cSldViewPr>
  </p:notesViewPr>
  <p:gridSpacing cx="1080136" cy="1080136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handoutMaster" Target="handoutMasters/handoutMaster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theme" Target="theme/theme1.xml"/><Relationship Id="rId20" Type="http://schemas.openxmlformats.org/officeDocument/2006/relationships/slide" Target="slides/slide10.xml"/><Relationship Id="rId41" Type="http://schemas.openxmlformats.org/officeDocument/2006/relationships/slide" Target="slides/slide3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86DCCD-FB14-4FA8-B1C2-D065E82645DF}" type="datetimeFigureOut">
              <a:rPr lang="ru-RU" smtClean="0"/>
              <a:pPr/>
              <a:t>03.08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8D96E1-DF61-4A53-9932-3DFD8899BB9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05484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084D8A-822D-488E-8D1C-8C90CBE022BE}" type="datetimeFigureOut">
              <a:rPr lang="ru-RU" smtClean="0"/>
              <a:pPr/>
              <a:t>03.08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4175" y="685800"/>
            <a:ext cx="60896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F70B7F-3432-4DBE-B821-B38A127FB2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920220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2122487"/>
            <a:ext cx="5711825" cy="1189037"/>
          </a:xfrm>
          <a:prstGeom prst="rect">
            <a:avLst/>
          </a:prstGeom>
        </p:spPr>
        <p:txBody>
          <a:bodyPr lIns="0" tIns="0" rIns="0" bIns="0"/>
          <a:lstStyle>
            <a:lvl1pPr>
              <a:defRPr sz="2700" b="1">
                <a:solidFill>
                  <a:srgbClr val="404040"/>
                </a:solidFill>
                <a:latin typeface="+mn-l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/>
              </a:rPr>
              <a:t>Тема презентации</a:t>
            </a:r>
            <a:endParaRPr kumimoji="0" lang="en-US" sz="27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3798267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>
                <a:latin typeface="Arial" pitchFamily="34" charset="0"/>
                <a:cs typeface="Arial" pitchFamily="34" charset="0"/>
              </a:rPr>
              <a:t>Наименование мероприятия </a:t>
            </a:r>
            <a:r>
              <a:rPr lang="en-US" dirty="0">
                <a:latin typeface="Arial" pitchFamily="34" charset="0"/>
                <a:cs typeface="Arial" pitchFamily="34" charset="0"/>
              </a:rPr>
              <a:t>/</a:t>
            </a:r>
            <a:r>
              <a:rPr lang="ru-RU" dirty="0">
                <a:latin typeface="Arial" pitchFamily="34" charset="0"/>
                <a:cs typeface="Arial" pitchFamily="34" charset="0"/>
              </a:rPr>
              <a:t> название площадки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4212000"/>
            <a:ext cx="5711825" cy="2184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ИО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49" y="4428000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870556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808537" y="1476375"/>
            <a:ext cx="3940175" cy="25078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lang="en-US" sz="7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24584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charset="0"/>
              <a:buNone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77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39049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9487467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20471"/>
            <a:ext cx="1674813" cy="1111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7434"/>
            <a:ext cx="8280400" cy="774623"/>
          </a:xfrm>
          <a:ln/>
        </p:spPr>
        <p:txBody>
          <a:bodyPr/>
          <a:lstStyle>
            <a:lvl1pPr>
              <a:lnSpc>
                <a:spcPct val="130000"/>
              </a:lnSpc>
              <a:defRPr sz="135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5685"/>
            <a:ext cx="3743325" cy="487416"/>
          </a:xfrm>
          <a:ln/>
        </p:spPr>
        <p:txBody>
          <a:bodyPr anchor="ctr"/>
          <a:lstStyle>
            <a:lvl1pPr marL="0" indent="0">
              <a:buFontTx/>
              <a:buNone/>
              <a:defRPr sz="1051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8788378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5373390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8236"/>
            <a:ext cx="7772400" cy="1022502"/>
          </a:xfrm>
        </p:spPr>
        <p:txBody>
          <a:bodyPr anchor="t"/>
          <a:lstStyle>
            <a:lvl1pPr algn="l">
              <a:defRPr sz="300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2054"/>
            <a:ext cx="7772400" cy="1126182"/>
          </a:xfrm>
        </p:spPr>
        <p:txBody>
          <a:bodyPr anchor="b"/>
          <a:lstStyle>
            <a:lvl1pPr marL="0" indent="0">
              <a:buNone/>
              <a:defRPr sz="1501"/>
            </a:lvl1pPr>
            <a:lvl2pPr marL="343220" indent="0">
              <a:buNone/>
              <a:defRPr sz="1351"/>
            </a:lvl2pPr>
            <a:lvl3pPr marL="686440" indent="0">
              <a:buNone/>
              <a:defRPr sz="1201"/>
            </a:lvl3pPr>
            <a:lvl4pPr marL="1029660" indent="0">
              <a:buNone/>
              <a:defRPr sz="1051"/>
            </a:lvl4pPr>
            <a:lvl5pPr marL="1372880" indent="0">
              <a:buNone/>
              <a:defRPr sz="1051"/>
            </a:lvl5pPr>
            <a:lvl6pPr marL="1716100" indent="0">
              <a:buNone/>
              <a:defRPr sz="1051"/>
            </a:lvl6pPr>
            <a:lvl7pPr marL="2059320" indent="0">
              <a:buNone/>
              <a:defRPr sz="1051"/>
            </a:lvl7pPr>
            <a:lvl8pPr marL="2402540" indent="0">
              <a:buNone/>
              <a:defRPr sz="1051"/>
            </a:lvl8pPr>
            <a:lvl9pPr marL="2745760" indent="0">
              <a:buNone/>
              <a:defRPr sz="105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09997166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844935"/>
            <a:ext cx="4135437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844935"/>
            <a:ext cx="4137025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30372631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169"/>
            <a:ext cx="8229600" cy="858044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2401"/>
            <a:ext cx="4040188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2667"/>
            <a:ext cx="4040188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2401"/>
            <a:ext cx="4041775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2667"/>
            <a:ext cx="4041775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60016254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76000034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4652454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9994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977"/>
            <a:ext cx="3008313" cy="872345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977"/>
            <a:ext cx="5111750" cy="4393900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/>
            </a:lvl3pPr>
            <a:lvl4pPr>
              <a:defRPr sz="1501"/>
            </a:lvl4pPr>
            <a:lvl5pPr>
              <a:defRPr sz="1501"/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7322"/>
            <a:ext cx="3008313" cy="352155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25531871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3784"/>
            <a:ext cx="5486400" cy="425447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007"/>
            <a:ext cx="5486400" cy="3088958"/>
          </a:xfrm>
        </p:spPr>
        <p:txBody>
          <a:bodyPr/>
          <a:lstStyle>
            <a:lvl1pPr marL="0" indent="0">
              <a:buNone/>
              <a:defRPr sz="2402"/>
            </a:lvl1pPr>
            <a:lvl2pPr marL="343220" indent="0">
              <a:buNone/>
              <a:defRPr sz="2102"/>
            </a:lvl2pPr>
            <a:lvl3pPr marL="686440" indent="0">
              <a:buNone/>
              <a:defRPr sz="1802"/>
            </a:lvl3pPr>
            <a:lvl4pPr marL="1029660" indent="0">
              <a:buNone/>
              <a:defRPr sz="1501"/>
            </a:lvl4pPr>
            <a:lvl5pPr marL="1372880" indent="0">
              <a:buNone/>
              <a:defRPr sz="1501"/>
            </a:lvl5pPr>
            <a:lvl6pPr marL="1716100" indent="0">
              <a:buNone/>
              <a:defRPr sz="1501"/>
            </a:lvl6pPr>
            <a:lvl7pPr marL="2059320" indent="0">
              <a:buNone/>
              <a:defRPr sz="1501"/>
            </a:lvl7pPr>
            <a:lvl8pPr marL="2402540" indent="0">
              <a:buNone/>
              <a:defRPr sz="1501"/>
            </a:lvl8pPr>
            <a:lvl9pPr marL="2745760" indent="0">
              <a:buNone/>
              <a:defRPr sz="1501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9231"/>
            <a:ext cx="5486400" cy="60420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34830962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08568465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970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470970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54109631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6382257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20471"/>
            <a:ext cx="1674813" cy="1111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7434"/>
            <a:ext cx="8280400" cy="774623"/>
          </a:xfrm>
          <a:ln/>
        </p:spPr>
        <p:txBody>
          <a:bodyPr/>
          <a:lstStyle>
            <a:lvl1pPr>
              <a:lnSpc>
                <a:spcPct val="130000"/>
              </a:lnSpc>
              <a:defRPr sz="135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5685"/>
            <a:ext cx="3743325" cy="487416"/>
          </a:xfrm>
          <a:ln/>
        </p:spPr>
        <p:txBody>
          <a:bodyPr anchor="ctr"/>
          <a:lstStyle>
            <a:lvl1pPr marL="0" indent="0">
              <a:buFontTx/>
              <a:buNone/>
              <a:defRPr sz="1051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3551470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598369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8236"/>
            <a:ext cx="7772400" cy="1022502"/>
          </a:xfrm>
        </p:spPr>
        <p:txBody>
          <a:bodyPr anchor="t"/>
          <a:lstStyle>
            <a:lvl1pPr algn="l">
              <a:defRPr sz="300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2054"/>
            <a:ext cx="7772400" cy="1126182"/>
          </a:xfrm>
        </p:spPr>
        <p:txBody>
          <a:bodyPr anchor="b"/>
          <a:lstStyle>
            <a:lvl1pPr marL="0" indent="0">
              <a:buNone/>
              <a:defRPr sz="1501"/>
            </a:lvl1pPr>
            <a:lvl2pPr marL="343220" indent="0">
              <a:buNone/>
              <a:defRPr sz="1351"/>
            </a:lvl2pPr>
            <a:lvl3pPr marL="686440" indent="0">
              <a:buNone/>
              <a:defRPr sz="1201"/>
            </a:lvl3pPr>
            <a:lvl4pPr marL="1029660" indent="0">
              <a:buNone/>
              <a:defRPr sz="1051"/>
            </a:lvl4pPr>
            <a:lvl5pPr marL="1372880" indent="0">
              <a:buNone/>
              <a:defRPr sz="1051"/>
            </a:lvl5pPr>
            <a:lvl6pPr marL="1716100" indent="0">
              <a:buNone/>
              <a:defRPr sz="1051"/>
            </a:lvl6pPr>
            <a:lvl7pPr marL="2059320" indent="0">
              <a:buNone/>
              <a:defRPr sz="1051"/>
            </a:lvl7pPr>
            <a:lvl8pPr marL="2402540" indent="0">
              <a:buNone/>
              <a:defRPr sz="1051"/>
            </a:lvl8pPr>
            <a:lvl9pPr marL="2745760" indent="0">
              <a:buNone/>
              <a:defRPr sz="105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F6E45677-430B-4678-8423-A5E8DF41A8EA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6696823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844935"/>
            <a:ext cx="4135437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844935"/>
            <a:ext cx="4137025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138D8DA9-12D6-4AB3-8FA6-6D0B22AD38B1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6260609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169"/>
            <a:ext cx="8229600" cy="858044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2401"/>
            <a:ext cx="4040188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2667"/>
            <a:ext cx="4040188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2401"/>
            <a:ext cx="4041775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2667"/>
            <a:ext cx="4041775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0A62CC93-5F64-4B1A-88B3-79BF7AB956A3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977055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355364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4027DE4E-6A23-4EAC-BAE8-DB617B7AE22F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367462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934784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977"/>
            <a:ext cx="3008313" cy="872345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977"/>
            <a:ext cx="5111750" cy="4393900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/>
            </a:lvl3pPr>
            <a:lvl4pPr>
              <a:defRPr sz="1501"/>
            </a:lvl4pPr>
            <a:lvl5pPr>
              <a:defRPr sz="1501"/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7322"/>
            <a:ext cx="3008313" cy="352155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74500E44-0271-4C61-A393-6984E1E26E45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036875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3784"/>
            <a:ext cx="5486400" cy="425447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007"/>
            <a:ext cx="5486400" cy="3088958"/>
          </a:xfrm>
        </p:spPr>
        <p:txBody>
          <a:bodyPr/>
          <a:lstStyle>
            <a:lvl1pPr marL="0" indent="0">
              <a:buNone/>
              <a:defRPr sz="2402"/>
            </a:lvl1pPr>
            <a:lvl2pPr marL="343220" indent="0">
              <a:buNone/>
              <a:defRPr sz="2102"/>
            </a:lvl2pPr>
            <a:lvl3pPr marL="686440" indent="0">
              <a:buNone/>
              <a:defRPr sz="1802"/>
            </a:lvl3pPr>
            <a:lvl4pPr marL="1029660" indent="0">
              <a:buNone/>
              <a:defRPr sz="1501"/>
            </a:lvl4pPr>
            <a:lvl5pPr marL="1372880" indent="0">
              <a:buNone/>
              <a:defRPr sz="1501"/>
            </a:lvl5pPr>
            <a:lvl6pPr marL="1716100" indent="0">
              <a:buNone/>
              <a:defRPr sz="1501"/>
            </a:lvl6pPr>
            <a:lvl7pPr marL="2059320" indent="0">
              <a:buNone/>
              <a:defRPr sz="1501"/>
            </a:lvl7pPr>
            <a:lvl8pPr marL="2402540" indent="0">
              <a:buNone/>
              <a:defRPr sz="1501"/>
            </a:lvl8pPr>
            <a:lvl9pPr marL="2745760" indent="0">
              <a:buNone/>
              <a:defRPr sz="1501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9231"/>
            <a:ext cx="5486400" cy="60420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9E715A57-C3A8-4864-8FAA-B83877150232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511832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9868E68D-7C3A-4E26-BFCC-894622BFC40B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727640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970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470970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C92B130A-56C9-4453-82B0-957D5B977660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348338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68644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 sz="525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68644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9" y="4579415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64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F24603-9A1B-F342-92E0-89DE32840F75}" type="slidenum">
              <a:rPr kumimoji="0" lang="en-US" sz="525" b="0" i="0" u="none" strike="noStrike" kern="1200" cap="none" spc="0" normalizeH="0" baseline="0" noProof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pPr marL="0" marR="0" lvl="0" indent="0" algn="r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525" b="0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727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90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901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40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25"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51332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3618581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20471"/>
            <a:ext cx="1674813" cy="1111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7434"/>
            <a:ext cx="8280400" cy="774623"/>
          </a:xfrm>
          <a:ln/>
        </p:spPr>
        <p:txBody>
          <a:bodyPr/>
          <a:lstStyle>
            <a:lvl1pPr>
              <a:lnSpc>
                <a:spcPct val="130000"/>
              </a:lnSpc>
              <a:defRPr sz="135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5685"/>
            <a:ext cx="3743325" cy="487416"/>
          </a:xfrm>
          <a:ln/>
        </p:spPr>
        <p:txBody>
          <a:bodyPr anchor="ctr"/>
          <a:lstStyle>
            <a:lvl1pPr marL="0" indent="0">
              <a:buFontTx/>
              <a:buNone/>
              <a:defRPr sz="1051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03325269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1402885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808538" y="1476375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815318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808538" y="2815318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2013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8236"/>
            <a:ext cx="7772400" cy="1022502"/>
          </a:xfrm>
        </p:spPr>
        <p:txBody>
          <a:bodyPr anchor="t"/>
          <a:lstStyle>
            <a:lvl1pPr algn="l">
              <a:defRPr sz="300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2054"/>
            <a:ext cx="7772400" cy="1126182"/>
          </a:xfrm>
        </p:spPr>
        <p:txBody>
          <a:bodyPr anchor="b"/>
          <a:lstStyle>
            <a:lvl1pPr marL="0" indent="0">
              <a:buNone/>
              <a:defRPr sz="1501"/>
            </a:lvl1pPr>
            <a:lvl2pPr marL="343220" indent="0">
              <a:buNone/>
              <a:defRPr sz="1351"/>
            </a:lvl2pPr>
            <a:lvl3pPr marL="686440" indent="0">
              <a:buNone/>
              <a:defRPr sz="1201"/>
            </a:lvl3pPr>
            <a:lvl4pPr marL="1029660" indent="0">
              <a:buNone/>
              <a:defRPr sz="1051"/>
            </a:lvl4pPr>
            <a:lvl5pPr marL="1372880" indent="0">
              <a:buNone/>
              <a:defRPr sz="1051"/>
            </a:lvl5pPr>
            <a:lvl6pPr marL="1716100" indent="0">
              <a:buNone/>
              <a:defRPr sz="1051"/>
            </a:lvl6pPr>
            <a:lvl7pPr marL="2059320" indent="0">
              <a:buNone/>
              <a:defRPr sz="1051"/>
            </a:lvl7pPr>
            <a:lvl8pPr marL="2402540" indent="0">
              <a:buNone/>
              <a:defRPr sz="1051"/>
            </a:lvl8pPr>
            <a:lvl9pPr marL="2745760" indent="0">
              <a:buNone/>
              <a:defRPr sz="105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36533880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844935"/>
            <a:ext cx="4135437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844935"/>
            <a:ext cx="4137025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56634008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169"/>
            <a:ext cx="8229600" cy="858044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2401"/>
            <a:ext cx="4040188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2667"/>
            <a:ext cx="4040188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2401"/>
            <a:ext cx="4041775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2667"/>
            <a:ext cx="4041775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84783809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14684827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60090040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977"/>
            <a:ext cx="3008313" cy="872345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977"/>
            <a:ext cx="5111750" cy="4393900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/>
            </a:lvl3pPr>
            <a:lvl4pPr>
              <a:defRPr sz="1501"/>
            </a:lvl4pPr>
            <a:lvl5pPr>
              <a:defRPr sz="1501"/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7322"/>
            <a:ext cx="3008313" cy="352155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61546859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3784"/>
            <a:ext cx="5486400" cy="425447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007"/>
            <a:ext cx="5486400" cy="3088958"/>
          </a:xfrm>
        </p:spPr>
        <p:txBody>
          <a:bodyPr/>
          <a:lstStyle>
            <a:lvl1pPr marL="0" indent="0">
              <a:buNone/>
              <a:defRPr sz="2402"/>
            </a:lvl1pPr>
            <a:lvl2pPr marL="343220" indent="0">
              <a:buNone/>
              <a:defRPr sz="2102"/>
            </a:lvl2pPr>
            <a:lvl3pPr marL="686440" indent="0">
              <a:buNone/>
              <a:defRPr sz="1802"/>
            </a:lvl3pPr>
            <a:lvl4pPr marL="1029660" indent="0">
              <a:buNone/>
              <a:defRPr sz="1501"/>
            </a:lvl4pPr>
            <a:lvl5pPr marL="1372880" indent="0">
              <a:buNone/>
              <a:defRPr sz="1501"/>
            </a:lvl5pPr>
            <a:lvl6pPr marL="1716100" indent="0">
              <a:buNone/>
              <a:defRPr sz="1501"/>
            </a:lvl6pPr>
            <a:lvl7pPr marL="2059320" indent="0">
              <a:buNone/>
              <a:defRPr sz="1501"/>
            </a:lvl7pPr>
            <a:lvl8pPr marL="2402540" indent="0">
              <a:buNone/>
              <a:defRPr sz="1501"/>
            </a:lvl8pPr>
            <a:lvl9pPr marL="2745760" indent="0">
              <a:buNone/>
              <a:defRPr sz="1501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9231"/>
            <a:ext cx="5486400" cy="60420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02295521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10867811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970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470970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40706191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68644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 sz="525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68644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9" y="4579415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525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525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727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90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901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40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25"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57660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808538" y="1476375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815318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808538" y="2815318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77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8130852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5178194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539750" y="1476375"/>
            <a:ext cx="4014788" cy="18351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6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808538" y="1476375"/>
            <a:ext cx="3940175" cy="18351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8" hasCustomPrompt="1"/>
          </p:nvPr>
        </p:nvSpPr>
        <p:spPr>
          <a:xfrm>
            <a:off x="539750" y="3482975"/>
            <a:ext cx="4014788" cy="76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4808538" y="3479346"/>
            <a:ext cx="3940174" cy="76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1645409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539750" y="1476375"/>
            <a:ext cx="4014788" cy="28013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>
          <a:xfrm>
            <a:off x="4808539" y="1476375"/>
            <a:ext cx="3940174" cy="28013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54760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515179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39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pn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.png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4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  <p:pic>
        <p:nvPicPr>
          <p:cNvPr id="4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431800"/>
            <a:ext cx="816864" cy="104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016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40798"/>
            <a:ext cx="627062" cy="28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652" b="1">
                <a:solidFill>
                  <a:schemeClr val="hlink"/>
                </a:solidFill>
              </a:defRPr>
            </a:lvl1pPr>
          </a:lstStyle>
          <a:p>
            <a:fld id="{16CC8587-BAAD-4D84-B938-130480D73C62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935"/>
            <a:ext cx="8424862" cy="3864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79846"/>
            <a:ext cx="887412" cy="589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9041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5pPr>
      <a:lvl6pPr marL="34322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6pPr>
      <a:lvl7pPr marL="68644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7pPr>
      <a:lvl8pPr marL="102966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8pPr>
      <a:lvl9pPr marL="137288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35858" indent="-1358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201">
          <a:solidFill>
            <a:schemeClr val="tx1"/>
          </a:solidFill>
          <a:latin typeface="+mn-lt"/>
          <a:ea typeface="+mn-ea"/>
          <a:cs typeface="+mn-cs"/>
        </a:defRPr>
      </a:lvl1pPr>
      <a:lvl2pPr marL="270525" indent="-1334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051">
          <a:solidFill>
            <a:schemeClr val="tx1"/>
          </a:solidFill>
          <a:latin typeface="+mn-lt"/>
          <a:cs typeface="+mn-cs"/>
        </a:defRPr>
      </a:lvl2pPr>
      <a:lvl3pPr marL="872351" indent="-201404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1652">
          <a:solidFill>
            <a:schemeClr val="tx1"/>
          </a:solidFill>
          <a:latin typeface="+mn-lt"/>
          <a:cs typeface="+mn-cs"/>
        </a:defRPr>
      </a:lvl3pPr>
      <a:lvl4pPr marL="1250132" indent="-171610" algn="l" rtl="0" eaLnBrk="0" fontAlgn="base" hangingPunct="0">
        <a:spcBef>
          <a:spcPct val="20000"/>
        </a:spcBef>
        <a:spcAft>
          <a:spcPct val="0"/>
        </a:spcAft>
        <a:buChar char="–"/>
        <a:defRPr sz="1501">
          <a:solidFill>
            <a:schemeClr val="tx1"/>
          </a:solidFill>
          <a:latin typeface="+mn-lt"/>
          <a:cs typeface="+mn-cs"/>
        </a:defRPr>
      </a:lvl4pPr>
      <a:lvl5pPr marL="1556408" indent="-171610" algn="l" rtl="0" eaLnBrk="0" fontAlgn="base" hangingPunct="0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5pPr>
      <a:lvl6pPr marL="189962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6pPr>
      <a:lvl7pPr marL="224284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7pPr>
      <a:lvl8pPr marL="258606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8pPr>
      <a:lvl9pPr marL="292928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7351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4" r:id="rId2"/>
    <p:sldLayoutId id="2147483829" r:id="rId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23" r:id="rId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08" r:id="rId2"/>
    <p:sldLayoutId id="2147483828" r:id="rId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25" r:id="rId2"/>
    <p:sldLayoutId id="2147483826" r:id="rId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33204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40798"/>
            <a:ext cx="627062" cy="28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652" b="1">
                <a:solidFill>
                  <a:schemeClr val="hlink"/>
                </a:solidFill>
              </a:defRPr>
            </a:lvl1pPr>
          </a:lstStyle>
          <a:p>
            <a:fld id="{16CC8587-BAAD-4D84-B938-130480D73C62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935"/>
            <a:ext cx="8424862" cy="3864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79846"/>
            <a:ext cx="887412" cy="589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6436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5pPr>
      <a:lvl6pPr marL="34322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6pPr>
      <a:lvl7pPr marL="68644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7pPr>
      <a:lvl8pPr marL="102966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8pPr>
      <a:lvl9pPr marL="137288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35858" indent="-1358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201">
          <a:solidFill>
            <a:schemeClr val="tx1"/>
          </a:solidFill>
          <a:latin typeface="+mn-lt"/>
          <a:ea typeface="+mn-ea"/>
          <a:cs typeface="+mn-cs"/>
        </a:defRPr>
      </a:lvl1pPr>
      <a:lvl2pPr marL="270525" indent="-1334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051">
          <a:solidFill>
            <a:schemeClr val="tx1"/>
          </a:solidFill>
          <a:latin typeface="+mn-lt"/>
          <a:cs typeface="+mn-cs"/>
        </a:defRPr>
      </a:lvl2pPr>
      <a:lvl3pPr marL="872351" indent="-201404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1652">
          <a:solidFill>
            <a:schemeClr val="tx1"/>
          </a:solidFill>
          <a:latin typeface="+mn-lt"/>
          <a:cs typeface="+mn-cs"/>
        </a:defRPr>
      </a:lvl3pPr>
      <a:lvl4pPr marL="1250132" indent="-171610" algn="l" rtl="0" eaLnBrk="0" fontAlgn="base" hangingPunct="0">
        <a:spcBef>
          <a:spcPct val="20000"/>
        </a:spcBef>
        <a:spcAft>
          <a:spcPct val="0"/>
        </a:spcAft>
        <a:buChar char="–"/>
        <a:defRPr sz="1501">
          <a:solidFill>
            <a:schemeClr val="tx1"/>
          </a:solidFill>
          <a:latin typeface="+mn-lt"/>
          <a:cs typeface="+mn-cs"/>
        </a:defRPr>
      </a:lvl4pPr>
      <a:lvl5pPr marL="1556408" indent="-171610" algn="l" rtl="0" eaLnBrk="0" fontAlgn="base" hangingPunct="0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5pPr>
      <a:lvl6pPr marL="189962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6pPr>
      <a:lvl7pPr marL="224284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7pPr>
      <a:lvl8pPr marL="258606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8pPr>
      <a:lvl9pPr marL="292928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40798"/>
            <a:ext cx="627062" cy="28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652" b="1">
                <a:solidFill>
                  <a:schemeClr val="hlink"/>
                </a:solidFill>
              </a:defRPr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935"/>
            <a:ext cx="8424862" cy="3864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79846"/>
            <a:ext cx="887412" cy="589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3686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5pPr>
      <a:lvl6pPr marL="34322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6pPr>
      <a:lvl7pPr marL="68644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7pPr>
      <a:lvl8pPr marL="102966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8pPr>
      <a:lvl9pPr marL="137288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35858" indent="-1358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201">
          <a:solidFill>
            <a:schemeClr val="tx1"/>
          </a:solidFill>
          <a:latin typeface="+mn-lt"/>
          <a:ea typeface="+mn-ea"/>
          <a:cs typeface="+mn-cs"/>
        </a:defRPr>
      </a:lvl1pPr>
      <a:lvl2pPr marL="270525" indent="-1334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051">
          <a:solidFill>
            <a:schemeClr val="tx1"/>
          </a:solidFill>
          <a:latin typeface="+mn-lt"/>
          <a:cs typeface="+mn-cs"/>
        </a:defRPr>
      </a:lvl2pPr>
      <a:lvl3pPr marL="872351" indent="-201404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1652">
          <a:solidFill>
            <a:schemeClr val="tx1"/>
          </a:solidFill>
          <a:latin typeface="+mn-lt"/>
          <a:cs typeface="+mn-cs"/>
        </a:defRPr>
      </a:lvl3pPr>
      <a:lvl4pPr marL="1250132" indent="-171610" algn="l" rtl="0" eaLnBrk="0" fontAlgn="base" hangingPunct="0">
        <a:spcBef>
          <a:spcPct val="20000"/>
        </a:spcBef>
        <a:spcAft>
          <a:spcPct val="0"/>
        </a:spcAft>
        <a:buChar char="–"/>
        <a:defRPr sz="1501">
          <a:solidFill>
            <a:schemeClr val="tx1"/>
          </a:solidFill>
          <a:latin typeface="+mn-lt"/>
          <a:cs typeface="+mn-cs"/>
        </a:defRPr>
      </a:lvl4pPr>
      <a:lvl5pPr marL="1556408" indent="-171610" algn="l" rtl="0" eaLnBrk="0" fontAlgn="base" hangingPunct="0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5pPr>
      <a:lvl6pPr marL="189962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6pPr>
      <a:lvl7pPr marL="224284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7pPr>
      <a:lvl8pPr marL="258606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8pPr>
      <a:lvl9pPr marL="292928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1.png"/><Relationship Id="rId7" Type="http://schemas.openxmlformats.org/officeDocument/2006/relationships/image" Target="../media/image44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10" Type="http://schemas.openxmlformats.org/officeDocument/2006/relationships/image" Target="../media/image47.png"/><Relationship Id="rId4" Type="http://schemas.microsoft.com/office/2007/relationships/hdphoto" Target="../media/hdphoto1.wdp"/><Relationship Id="rId9" Type="http://schemas.openxmlformats.org/officeDocument/2006/relationships/image" Target="../media/image4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192460" y="2399928"/>
            <a:ext cx="7094165" cy="857622"/>
          </a:xfrm>
          <a:prstGeom prst="rect">
            <a:avLst/>
          </a:prstGeom>
        </p:spPr>
        <p:txBody>
          <a:bodyPr lIns="0" tIns="0" r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rgbClr val="404040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dirty="0" smtClean="0">
                <a:solidFill>
                  <a:srgbClr val="002060"/>
                </a:solidFill>
              </a:rPr>
              <a:t>4М. </a:t>
            </a:r>
            <a:r>
              <a:rPr lang="ru-RU" dirty="0" err="1">
                <a:solidFill>
                  <a:srgbClr val="002060"/>
                </a:solidFill>
              </a:rPr>
              <a:t>Финализация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smtClean="0">
                <a:solidFill>
                  <a:srgbClr val="002060"/>
                </a:solidFill>
              </a:rPr>
              <a:t>проектов</a:t>
            </a:r>
            <a:endParaRPr lang="ru-RU" b="0" i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45100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10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1524001" y="299073"/>
            <a:ext cx="5237018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1600" b="1" kern="0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ы стандартов: алгоритмы для цифровизации</a:t>
            </a:r>
            <a:endParaRPr lang="en-GB" sz="1600" b="1" kern="0" dirty="0">
              <a:solidFill>
                <a:srgbClr val="0032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17"/>
          <p:cNvSpPr txBox="1">
            <a:spLocks noChangeArrowheads="1"/>
          </p:cNvSpPr>
          <p:nvPr/>
        </p:nvSpPr>
        <p:spPr bwMode="auto">
          <a:xfrm>
            <a:off x="573753" y="2538570"/>
            <a:ext cx="4344612" cy="1811661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7260" tIns="43630" rIns="87260" bIns="43630">
            <a:spAutoFit/>
          </a:bodyPr>
          <a:lstStyle>
            <a:lvl1pPr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68288" lvl="1" indent="-268288" algn="just" fontAlgn="base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</a:pPr>
            <a:r>
              <a:rPr lang="ru-RU" altLang="ru-RU" sz="1400" b="0" dirty="0">
                <a:solidFill>
                  <a:srgbClr val="000000"/>
                </a:solidFill>
                <a:cs typeface="Arial" panose="020B0604020202020204" pitchFamily="34" charset="0"/>
              </a:rPr>
              <a:t>Оптимизация часто предваряет </a:t>
            </a:r>
            <a:r>
              <a:rPr lang="ru-RU" altLang="ru-RU" sz="1400" dirty="0">
                <a:solidFill>
                  <a:srgbClr val="0070C0"/>
                </a:solidFill>
                <a:cs typeface="Arial" panose="020B0604020202020204" pitchFamily="34" charset="0"/>
              </a:rPr>
              <a:t>цифровизацию</a:t>
            </a:r>
            <a:r>
              <a:rPr lang="ru-RU" altLang="ru-RU" sz="1400" b="0" dirty="0">
                <a:solidFill>
                  <a:srgbClr val="000000"/>
                </a:solidFill>
                <a:cs typeface="Arial" panose="020B0604020202020204" pitchFamily="34" charset="0"/>
              </a:rPr>
              <a:t>. Процессы, показавшие эффективность в «ручном» режиме, целесообразно </a:t>
            </a:r>
            <a:r>
              <a:rPr lang="ru-RU" altLang="ru-RU" sz="1400" b="0" dirty="0" err="1">
                <a:solidFill>
                  <a:srgbClr val="000000"/>
                </a:solidFill>
                <a:cs typeface="Arial" panose="020B0604020202020204" pitchFamily="34" charset="0"/>
              </a:rPr>
              <a:t>цифровизировать</a:t>
            </a:r>
            <a:r>
              <a:rPr lang="ru-RU" altLang="ru-RU" sz="1400" b="0" dirty="0">
                <a:solidFill>
                  <a:srgbClr val="000000"/>
                </a:solidFill>
                <a:cs typeface="Arial" panose="020B0604020202020204" pitchFamily="34" charset="0"/>
              </a:rPr>
              <a:t> для их ускорения, повышения управляемости и снижения ресурсоемкости. Для передачи в цифру процесс описывается в специальных нотациях, на языке </a:t>
            </a:r>
            <a:r>
              <a:rPr lang="en-US" altLang="ru-RU" sz="1400" b="0" dirty="0">
                <a:solidFill>
                  <a:srgbClr val="000000"/>
                </a:solidFill>
                <a:cs typeface="Arial" panose="020B0604020202020204" pitchFamily="34" charset="0"/>
              </a:rPr>
              <a:t>IT-</a:t>
            </a:r>
            <a:r>
              <a:rPr lang="ru-RU" altLang="ru-RU" sz="1400" b="0" dirty="0">
                <a:solidFill>
                  <a:srgbClr val="000000"/>
                </a:solidFill>
                <a:cs typeface="Arial" panose="020B0604020202020204" pitchFamily="34" charset="0"/>
              </a:rPr>
              <a:t>специалистов</a:t>
            </a:r>
            <a:endParaRPr lang="de-DE" altLang="ru-RU" sz="1400" b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B1F40FF-4832-4504-97D9-DC79835A17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0163" y="2538570"/>
            <a:ext cx="3954534" cy="2027104"/>
          </a:xfrm>
          <a:prstGeom prst="rect">
            <a:avLst/>
          </a:prstGeom>
        </p:spPr>
      </p:pic>
      <p:pic>
        <p:nvPicPr>
          <p:cNvPr id="7" name="Объект 4">
            <a:extLst>
              <a:ext uri="{FF2B5EF4-FFF2-40B4-BE49-F238E27FC236}">
                <a16:creationId xmlns:a16="http://schemas.microsoft.com/office/drawing/2014/main" id="{B0B6D410-3376-4385-82D7-8DD7EF3E43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752" y="616458"/>
            <a:ext cx="3831993" cy="1787306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78879892-C78E-483D-817E-28F824DC03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5853" y="673775"/>
            <a:ext cx="4196481" cy="1729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5569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11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1214014" y="326782"/>
            <a:ext cx="5754822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1600" b="1" kern="0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запуска работы нового стандарта рекомендуется</a:t>
            </a:r>
            <a:endParaRPr lang="en-GB" sz="1600" b="1" kern="0" dirty="0">
              <a:solidFill>
                <a:srgbClr val="0032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Объект 2"/>
          <p:cNvSpPr>
            <a:spLocks noGrp="1"/>
          </p:cNvSpPr>
          <p:nvPr>
            <p:ph idx="1"/>
          </p:nvPr>
        </p:nvSpPr>
        <p:spPr>
          <a:xfrm>
            <a:off x="200891" y="891612"/>
            <a:ext cx="6109853" cy="3787100"/>
          </a:xfrm>
        </p:spPr>
        <p:txBody>
          <a:bodyPr/>
          <a:lstStyle/>
          <a:p>
            <a:pPr marL="342900" indent="-342900" algn="just">
              <a:buFont typeface="+mj-lt"/>
              <a:buAutoNum type="arabicPeriod"/>
            </a:pPr>
            <a:r>
              <a:rPr lang="ru-RU" sz="1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бедиться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, что он работает в реальных условиях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1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Узаконить» 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тандарт (принять приказом)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Грамотно </a:t>
            </a:r>
            <a:r>
              <a:rPr lang="ru-RU" sz="1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формить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стандарт, используя визуализацию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ровести </a:t>
            </a:r>
            <a:r>
              <a:rPr lang="ru-RU" sz="1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чение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всех вовлеченных участников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рганизовать систему </a:t>
            </a:r>
            <a:r>
              <a:rPr lang="ru-RU" sz="1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я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соблюдения стандарта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1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стить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стандарт в место работы улучшенного процесса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Установить </a:t>
            </a:r>
            <a:r>
              <a:rPr lang="ru-RU" sz="1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а изменения 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тандарта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1574" y="2748639"/>
            <a:ext cx="2304919" cy="172869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1574" y="891612"/>
            <a:ext cx="2304919" cy="1536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5024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12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482033" y="192855"/>
            <a:ext cx="6904750" cy="583000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1600" b="1" dirty="0">
                <a:solidFill>
                  <a:schemeClr val="hlink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Цепочка помощи – инструмент оперативного решения проблем в процессе</a:t>
            </a:r>
            <a:endParaRPr lang="en-GB" sz="1600" b="1" dirty="0">
              <a:solidFill>
                <a:schemeClr val="hlink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961715" y="1446890"/>
            <a:ext cx="2850135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8775" indent="-358775" algn="just"/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почка помощи нужна как способ быстрого </a:t>
            </a:r>
            <a:r>
              <a:rPr lang="ru-RU" altLang="ru-RU" sz="1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гирования на выявленные проблемы процесса.</a:t>
            </a:r>
          </a:p>
          <a:p>
            <a:pPr marL="358775" indent="-358775" algn="just"/>
            <a:endParaRPr lang="ru-RU" altLang="ru-RU" sz="1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8775" indent="-358775" algn="just"/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гнал о проблеме должен гарантированно достигать уровня, на котором решается проблема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4B864E6-1D2C-4CA5-8E35-C87D610363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386" y="896495"/>
            <a:ext cx="5449596" cy="3782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5293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13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4" name="Прямоугольник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53835" y="1845996"/>
            <a:ext cx="6553201" cy="707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57" tIns="45678" rIns="91357" bIns="45678">
            <a:spAutoFit/>
          </a:bodyPr>
          <a:lstStyle/>
          <a:p>
            <a:pPr algn="ctr" defTabSz="913572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>
                <a:solidFill>
                  <a:srgbClr val="B0C8E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Мониторинг стабильности результатов</a:t>
            </a:r>
          </a:p>
          <a:p>
            <a:pPr algn="ctr" defTabSz="913572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>
                <a:solidFill>
                  <a:srgbClr val="B0C8E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«производственный анализ»)</a:t>
            </a:r>
          </a:p>
        </p:txBody>
      </p:sp>
    </p:spTree>
    <p:extLst>
      <p:ext uri="{BB962C8B-B14F-4D97-AF65-F5344CB8AC3E}">
        <p14:creationId xmlns:p14="http://schemas.microsoft.com/office/powerpoint/2010/main" val="17521880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14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4" name="Объект 2"/>
          <p:cNvSpPr txBox="1">
            <a:spLocks/>
          </p:cNvSpPr>
          <p:nvPr/>
        </p:nvSpPr>
        <p:spPr bwMode="auto">
          <a:xfrm>
            <a:off x="403049" y="977787"/>
            <a:ext cx="6203834" cy="1002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68288" indent="-268288" algn="just">
              <a:buNone/>
              <a:tabLst>
                <a:tab pos="268288" algn="l"/>
              </a:tabLst>
            </a:pP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Главная задача мониторинга стабильности результатов – убедиться в том, что процесс </a:t>
            </a:r>
            <a:r>
              <a:rPr lang="ru-RU" sz="1400" b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ратимо приобрел новое состояние</a:t>
            </a: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, а также выявить и устранить расхождения между фактическим и целевым состоянием, оставшееся после реализации плана мероприятий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458933" y="2230582"/>
            <a:ext cx="5763740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Убедиться в необратимости положительных изменений важно, т.к.:</a:t>
            </a:r>
          </a:p>
          <a:p>
            <a:pPr marL="360363" indent="-360363" algn="just">
              <a:buFont typeface="Arial" panose="020B0604020202020204" pitchFamily="34" charset="0"/>
              <a:buChar char="•"/>
            </a:pP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Не все действия из плана мероприятий дают </a:t>
            </a:r>
            <a:r>
              <a:rPr lang="ru-RU" sz="1400" b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жидаемый результат, </a:t>
            </a: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часто результат носит локальный, а не системный характер </a:t>
            </a:r>
          </a:p>
          <a:p>
            <a:pPr marL="360363" indent="-360363" algn="just">
              <a:buFont typeface="Arial" panose="020B0604020202020204" pitchFamily="34" charset="0"/>
              <a:buChar char="•"/>
            </a:pP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Решенные проблемы, могут породить </a:t>
            </a:r>
            <a:r>
              <a:rPr lang="ru-RU" sz="1400" b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е проблемы</a:t>
            </a:r>
          </a:p>
          <a:p>
            <a:pPr marL="360363" indent="-360363" algn="just">
              <a:buFont typeface="Arial" panose="020B0604020202020204" pitchFamily="34" charset="0"/>
              <a:buChar char="•"/>
            </a:pP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За время реализации проекта может поменяться </a:t>
            </a:r>
            <a:r>
              <a:rPr lang="ru-RU" sz="1400" b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екст, </a:t>
            </a: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в котором функционирует процесс</a:t>
            </a:r>
          </a:p>
          <a:p>
            <a:pPr marL="360363" indent="-360363" algn="just">
              <a:buFont typeface="Arial" panose="020B0604020202020204" pitchFamily="34" charset="0"/>
              <a:buChar char="•"/>
            </a:pP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В проекте могли быть </a:t>
            </a:r>
            <a:r>
              <a:rPr lang="ru-RU" sz="1400" b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ущены проблемы </a:t>
            </a: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или обстоятельства, целевая группа могла быть изучена недостаточно глубоко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049" y="2389909"/>
            <a:ext cx="1954726" cy="2061834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05C76EE-1FCB-42AE-9EB2-E75A6898A1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04244" y="977787"/>
            <a:ext cx="1628718" cy="1082924"/>
          </a:xfrm>
          <a:prstGeom prst="rect">
            <a:avLst/>
          </a:prstGeom>
        </p:spPr>
      </p:pic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1851323" y="299073"/>
            <a:ext cx="4147695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бщая логика мониторинга</a:t>
            </a:r>
            <a:endParaRPr lang="en-GB" b="1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04148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15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CAAD69C-9F56-472A-8499-88622A9E24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908" y="833849"/>
            <a:ext cx="5278220" cy="3399376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5417128" y="1206967"/>
            <a:ext cx="3567545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ы три ситуации сравнения плана и факта: 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altLang="ru-RU" sz="1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рицательные расхождения </a:t>
            </a: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наличие нерешенной или новой проблемы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altLang="ru-RU" sz="1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ительные расхождения </a:t>
            </a: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актуализированные возможности процесса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altLang="ru-RU" sz="1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расхождений </a:t>
            </a: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мониторинг проводится формально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Объект 2">
            <a:extLst>
              <a:ext uri="{FF2B5EF4-FFF2-40B4-BE49-F238E27FC236}">
                <a16:creationId xmlns:a16="http://schemas.microsoft.com/office/drawing/2014/main" id="{1CAFA884-8C7D-4EA9-808F-C4E507A68022}"/>
              </a:ext>
            </a:extLst>
          </p:cNvPr>
          <p:cNvSpPr txBox="1">
            <a:spLocks/>
          </p:cNvSpPr>
          <p:nvPr/>
        </p:nvSpPr>
        <p:spPr>
          <a:xfrm>
            <a:off x="309139" y="4085166"/>
            <a:ext cx="8613187" cy="516113"/>
          </a:xfrm>
          <a:prstGeom prst="rect">
            <a:avLst/>
          </a:prstGeom>
        </p:spPr>
        <p:txBody>
          <a:bodyPr/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Необходимо наблюдать за показателями оптимизируемого процесса до его полной стабилизации (обычно </a:t>
            </a:r>
            <a:r>
              <a:rPr lang="ru-RU" b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-2 месяца</a:t>
            </a: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, исходя из сроков, обозначенных в карточке проекта)</a:t>
            </a:r>
            <a:endParaRPr lang="ru-RU" b="1" kern="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1851323" y="299073"/>
            <a:ext cx="4327804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ример шаблона листа мониторинга</a:t>
            </a:r>
            <a:endParaRPr lang="en-GB" sz="1600" b="1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3748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16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1E82C09-5CC2-462A-B68F-6780CDC29D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669" y="736921"/>
            <a:ext cx="4208295" cy="3264126"/>
          </a:xfrm>
          <a:prstGeom prst="rect">
            <a:avLst/>
          </a:prstGeom>
        </p:spPr>
      </p:pic>
      <p:pic>
        <p:nvPicPr>
          <p:cNvPr id="5" name="Picture 194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63" r="58289"/>
          <a:stretch/>
        </p:blipFill>
        <p:spPr bwMode="auto">
          <a:xfrm>
            <a:off x="4655127" y="3132364"/>
            <a:ext cx="1595363" cy="1499588"/>
          </a:xfrm>
          <a:prstGeom prst="rect">
            <a:avLst/>
          </a:prstGeom>
          <a:noFill/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377646" y="3995037"/>
            <a:ext cx="364969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 отслеживания динамики показателей цели в течение всего проекта </a:t>
            </a:r>
            <a:r>
              <a:rPr lang="ru-RU" altLang="ru-RU" sz="1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блокам операций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839B03A-7276-466F-9D3E-1784AC1AA6CC}"/>
              </a:ext>
            </a:extLst>
          </p:cNvPr>
          <p:cNvSpPr/>
          <p:nvPr/>
        </p:nvSpPr>
        <p:spPr>
          <a:xfrm>
            <a:off x="6382108" y="3132364"/>
            <a:ext cx="250166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600" b="1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ли в проекте заявлено несколько целей, то каждую из них необходимо отслеживать</a:t>
            </a:r>
            <a:endParaRPr lang="ru-RU" sz="1600" b="1" i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CD6D406-FB81-4924-A9EB-BB782C8EFA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5127" y="736920"/>
            <a:ext cx="4304309" cy="2172536"/>
          </a:xfrm>
          <a:prstGeom prst="rect">
            <a:avLst/>
          </a:prstGeom>
        </p:spPr>
      </p:pic>
      <p:sp>
        <p:nvSpPr>
          <p:cNvPr id="9" name="Rectangle 2"/>
          <p:cNvSpPr txBox="1">
            <a:spLocks noChangeArrowheads="1"/>
          </p:cNvSpPr>
          <p:nvPr/>
        </p:nvSpPr>
        <p:spPr>
          <a:xfrm>
            <a:off x="639050" y="201251"/>
            <a:ext cx="6149677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римеры визуализации мониторинга</a:t>
            </a:r>
            <a:endParaRPr lang="en-GB" sz="1600" b="1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60320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17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4" name="Прямоугольник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74862" y="2095378"/>
            <a:ext cx="5003029" cy="4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57" tIns="45678" rIns="91357" bIns="45678">
            <a:spAutoFit/>
          </a:bodyPr>
          <a:lstStyle/>
          <a:p>
            <a:pPr algn="ctr" defTabSz="913572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>
                <a:solidFill>
                  <a:srgbClr val="B0C8E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Тираж лучших практик</a:t>
            </a:r>
          </a:p>
        </p:txBody>
      </p:sp>
    </p:spTree>
    <p:extLst>
      <p:ext uri="{BB962C8B-B14F-4D97-AF65-F5344CB8AC3E}">
        <p14:creationId xmlns:p14="http://schemas.microsoft.com/office/powerpoint/2010/main" val="5539548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18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48735" y="651085"/>
            <a:ext cx="6733308" cy="42165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ru-RU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ирование тиража </a:t>
            </a: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– тираж должен закладываться уже на стадии оформления карточки проекта, а не «вдруг»</a:t>
            </a:r>
          </a:p>
          <a:p>
            <a:pPr marL="342900" indent="-342900" algn="just">
              <a:buFont typeface="+mj-lt"/>
              <a:buAutoNum type="arabicPeriod"/>
            </a:pPr>
            <a:endParaRPr lang="ru-RU" sz="9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ru-RU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знание образца </a:t>
            </a: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– без процедуры признания образец не будет легитимным</a:t>
            </a:r>
          </a:p>
          <a:p>
            <a:pPr marL="342900" indent="-342900" algn="just">
              <a:buFont typeface="+mj-lt"/>
              <a:buAutoNum type="arabicPeriod"/>
            </a:pPr>
            <a:endParaRPr lang="ru-RU" sz="9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ru-RU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птация результатов </a:t>
            </a: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– тираж «в лоб» редко состоятелен. Важно определить «жесткую» (нельзя изменять) и «мягкую» (адаптируется по месту) части образца</a:t>
            </a:r>
          </a:p>
          <a:p>
            <a:pPr marL="342900" indent="-342900" algn="just">
              <a:buFont typeface="+mj-lt"/>
              <a:buAutoNum type="arabicPeriod"/>
            </a:pPr>
            <a:endParaRPr lang="ru-RU" sz="9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ru-RU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формление результатов </a:t>
            </a: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– все достижения должны быть грамотно, подробно и наглядно освоены, иначе будет транслироваться не суть, а легенды</a:t>
            </a:r>
          </a:p>
          <a:p>
            <a:pPr marL="342900" indent="-342900" algn="just">
              <a:buFont typeface="+mj-lt"/>
              <a:buAutoNum type="arabicPeriod"/>
            </a:pPr>
            <a:endParaRPr lang="ru-RU" sz="8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ru-RU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чение участников процесса </a:t>
            </a: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работе в новых условиях</a:t>
            </a:r>
          </a:p>
          <a:p>
            <a:pPr marL="342900" indent="-342900" algn="just">
              <a:buFont typeface="+mj-lt"/>
              <a:buAutoNum type="arabicPeriod"/>
            </a:pPr>
            <a:endParaRPr lang="ru-RU" sz="9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ru-RU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 изменений</a:t>
            </a: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, без него любые изменения будут быстро извращены или остановлены</a:t>
            </a:r>
          </a:p>
          <a:p>
            <a:pPr marL="342900" indent="-342900" algn="just">
              <a:buFont typeface="+mj-lt"/>
              <a:buAutoNum type="arabicPeriod"/>
            </a:pPr>
            <a:endParaRPr lang="ru-RU" sz="9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ru-RU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ка образца</a:t>
            </a: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. Любой </a:t>
            </a:r>
            <a:r>
              <a:rPr lang="ru-RU" sz="14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образец - </a:t>
            </a: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это динамика изменений, а не «статичная картинка» </a:t>
            </a: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148735" y="284142"/>
            <a:ext cx="6532418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Тираж результатов проекта. Обязательные процедуры</a:t>
            </a:r>
            <a:endParaRPr lang="en-GB" sz="1600" b="1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CA0F058-FC7C-4AFE-89F3-71C28BB9C11E}"/>
              </a:ext>
            </a:extLst>
          </p:cNvPr>
          <p:cNvSpPr/>
          <p:nvPr/>
        </p:nvSpPr>
        <p:spPr>
          <a:xfrm>
            <a:off x="7026725" y="2717471"/>
            <a:ext cx="192760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400" b="1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образца не имеет никакого смысла, если его некому тиражировать!</a:t>
            </a:r>
            <a:endParaRPr lang="ru-RU" sz="1400" b="1" i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D89BA38-6475-4039-A13A-A609313C78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1902" y="935182"/>
            <a:ext cx="1978122" cy="990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7337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19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998207" y="708959"/>
            <a:ext cx="127410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Модель и критерии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465283" y="718342"/>
            <a:ext cx="154832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Фабрика процессов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483856" y="4138261"/>
            <a:ext cx="237148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Фото и видео-материалы </a:t>
            </a:r>
            <a:b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по проектам-образцам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612"/>
          <a:stretch/>
        </p:blipFill>
        <p:spPr>
          <a:xfrm>
            <a:off x="749255" y="937468"/>
            <a:ext cx="820735" cy="83009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28415" y1="85075" x2="28415" y2="85075"/>
                        <a14:foregroundMark x1="51913" y1="88806" x2="51913" y2="88806"/>
                        <a14:foregroundMark x1="45355" y1="83582" x2="45355" y2="83582"/>
                        <a14:foregroundMark x1="38251" y1="87313" x2="38251" y2="87313"/>
                        <a14:foregroundMark x1="19672" y1="88806" x2="19672" y2="88806"/>
                        <a14:foregroundMark x1="13661" y1="91791" x2="13661" y2="91791"/>
                        <a14:foregroundMark x1="47541" y1="91791" x2="47541" y2="91791"/>
                        <a14:foregroundMark x1="60656" y1="87313" x2="60656" y2="87313"/>
                        <a14:foregroundMark x1="60656" y1="82090" x2="60656" y2="82090"/>
                        <a14:foregroundMark x1="34973" y1="62687" x2="34973" y2="62687"/>
                        <a14:foregroundMark x1="74317" y1="68657" x2="74317" y2="68657"/>
                        <a14:foregroundMark x1="76503" y1="32090" x2="76503" y2="32090"/>
                        <a14:foregroundMark x1="54098" y1="42537" x2="54098" y2="42537"/>
                        <a14:foregroundMark x1="75410" y1="20149" x2="75410" y2="20149"/>
                        <a14:foregroundMark x1="89617" y1="24627" x2="89617" y2="24627"/>
                        <a14:foregroundMark x1="91803" y1="23134" x2="91803" y2="23134"/>
                        <a14:foregroundMark x1="87432" y1="49254" x2="87432" y2="49254"/>
                        <a14:foregroundMark x1="86339" y1="12687" x2="86339" y2="12687"/>
                        <a14:foregroundMark x1="74317" y1="5970" x2="74317" y2="5970"/>
                        <a14:foregroundMark x1="65027" y1="80597" x2="65027" y2="80597"/>
                        <a14:foregroundMark x1="74317" y1="59701" x2="74317" y2="59701"/>
                        <a14:foregroundMark x1="54645" y1="80597" x2="54645" y2="80597"/>
                        <a14:foregroundMark x1="37705" y1="94030" x2="37705" y2="94030"/>
                        <a14:foregroundMark x1="48634" y1="97015" x2="48634" y2="97015"/>
                        <a14:foregroundMark x1="30055" y1="96269" x2="30055" y2="96269"/>
                        <a14:foregroundMark x1="16393" y1="96269" x2="16393" y2="96269"/>
                        <a14:foregroundMark x1="37158" y1="50000" x2="37158" y2="50000"/>
                        <a14:foregroundMark x1="21311" y1="76119" x2="21311" y2="76119"/>
                        <a14:foregroundMark x1="25137" y1="67910" x2="25137" y2="6791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303453">
            <a:off x="882100" y="1251207"/>
            <a:ext cx="343561" cy="281661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1641064" y="1092341"/>
            <a:ext cx="45397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b="1" dirty="0">
                <a:latin typeface="Arial" panose="020B0604020202020204" pitchFamily="34" charset="0"/>
                <a:cs typeface="Arial" panose="020B0604020202020204" pitchFamily="34" charset="0"/>
              </a:rPr>
              <a:t>=</a:t>
            </a:r>
            <a:endParaRPr lang="ru-RU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807236" y="1418577"/>
            <a:ext cx="445924" cy="5940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807236" y="1517981"/>
            <a:ext cx="445924" cy="5940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796329" y="1629687"/>
            <a:ext cx="445924" cy="5940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Левая круглая скобка 14"/>
          <p:cNvSpPr/>
          <p:nvPr/>
        </p:nvSpPr>
        <p:spPr>
          <a:xfrm>
            <a:off x="3751745" y="1401814"/>
            <a:ext cx="33706" cy="297014"/>
          </a:xfrm>
          <a:prstGeom prst="leftBracket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680388" y="1747264"/>
            <a:ext cx="197842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Образцы лучших практик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1375" y="3920448"/>
            <a:ext cx="1509368" cy="748919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70493" y="1104986"/>
            <a:ext cx="833606" cy="723292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19" name="Прямая со стрелкой 18"/>
          <p:cNvCxnSpPr>
            <a:stCxn id="18" idx="3"/>
            <a:endCxn id="26" idx="2"/>
          </p:cNvCxnSpPr>
          <p:nvPr/>
        </p:nvCxnSpPr>
        <p:spPr>
          <a:xfrm>
            <a:off x="3104099" y="1466632"/>
            <a:ext cx="391007" cy="10000"/>
          </a:xfrm>
          <a:prstGeom prst="straightConnector1">
            <a:avLst/>
          </a:prstGeom>
          <a:ln>
            <a:solidFill>
              <a:srgbClr val="00327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Соединительная линия уступом 19"/>
          <p:cNvCxnSpPr>
            <a:cxnSpLocks/>
            <a:endCxn id="27" idx="2"/>
          </p:cNvCxnSpPr>
          <p:nvPr/>
        </p:nvCxnSpPr>
        <p:spPr>
          <a:xfrm>
            <a:off x="4335532" y="1564449"/>
            <a:ext cx="472309" cy="313620"/>
          </a:xfrm>
          <a:prstGeom prst="bentConnector3">
            <a:avLst>
              <a:gd name="adj1" fmla="val 50000"/>
            </a:avLst>
          </a:prstGeom>
          <a:ln>
            <a:solidFill>
              <a:srgbClr val="00327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Соединительная линия уступом 20"/>
          <p:cNvCxnSpPr>
            <a:stCxn id="13" idx="3"/>
            <a:endCxn id="28" idx="2"/>
          </p:cNvCxnSpPr>
          <p:nvPr/>
        </p:nvCxnSpPr>
        <p:spPr>
          <a:xfrm>
            <a:off x="4253160" y="1547682"/>
            <a:ext cx="598540" cy="1415742"/>
          </a:xfrm>
          <a:prstGeom prst="bentConnector3">
            <a:avLst/>
          </a:prstGeom>
          <a:ln>
            <a:solidFill>
              <a:srgbClr val="00327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Соединительная линия уступом 21"/>
          <p:cNvCxnSpPr>
            <a:stCxn id="14" idx="3"/>
            <a:endCxn id="29" idx="2"/>
          </p:cNvCxnSpPr>
          <p:nvPr/>
        </p:nvCxnSpPr>
        <p:spPr>
          <a:xfrm>
            <a:off x="4242253" y="1659389"/>
            <a:ext cx="621181" cy="2757305"/>
          </a:xfrm>
          <a:prstGeom prst="bentConnector3">
            <a:avLst>
              <a:gd name="adj1" fmla="val 50000"/>
            </a:avLst>
          </a:prstGeom>
          <a:ln>
            <a:solidFill>
              <a:srgbClr val="00327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/>
          <p:cNvSpPr/>
          <p:nvPr/>
        </p:nvSpPr>
        <p:spPr>
          <a:xfrm>
            <a:off x="6619088" y="2941060"/>
            <a:ext cx="191308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Методические рекомендации по проектам </a:t>
            </a:r>
            <a:r>
              <a:rPr lang="ru-RU" sz="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52400" y="699656"/>
            <a:ext cx="171127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Коробочное решение</a:t>
            </a:r>
          </a:p>
        </p:txBody>
      </p:sp>
      <p:sp>
        <p:nvSpPr>
          <p:cNvPr id="25" name="Circle"/>
          <p:cNvSpPr/>
          <p:nvPr/>
        </p:nvSpPr>
        <p:spPr>
          <a:xfrm>
            <a:off x="2074028" y="1268600"/>
            <a:ext cx="266302" cy="304910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6565"/>
            </a:solidFill>
            <a:miter lim="400000"/>
          </a:ln>
        </p:spPr>
        <p:txBody>
          <a:bodyPr lIns="45719" rIns="45719" anchor="ctr"/>
          <a:lstStyle/>
          <a:p>
            <a:pPr defTabSz="914407"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Circle"/>
          <p:cNvSpPr/>
          <p:nvPr/>
        </p:nvSpPr>
        <p:spPr>
          <a:xfrm>
            <a:off x="3495106" y="1324177"/>
            <a:ext cx="266302" cy="304910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6565"/>
            </a:solidFill>
            <a:miter lim="400000"/>
          </a:ln>
        </p:spPr>
        <p:txBody>
          <a:bodyPr lIns="45719" rIns="45719" anchor="ctr"/>
          <a:lstStyle/>
          <a:p>
            <a:pPr defTabSz="914407"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Circle"/>
          <p:cNvSpPr/>
          <p:nvPr/>
        </p:nvSpPr>
        <p:spPr>
          <a:xfrm>
            <a:off x="4807841" y="1725614"/>
            <a:ext cx="266302" cy="304910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6565"/>
            </a:solidFill>
            <a:miter lim="400000"/>
          </a:ln>
        </p:spPr>
        <p:txBody>
          <a:bodyPr lIns="45719" rIns="45719" anchor="ctr"/>
          <a:lstStyle/>
          <a:p>
            <a:pPr defTabSz="914407"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Circle"/>
          <p:cNvSpPr/>
          <p:nvPr/>
        </p:nvSpPr>
        <p:spPr>
          <a:xfrm>
            <a:off x="4851699" y="2810969"/>
            <a:ext cx="266302" cy="304910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6565"/>
            </a:solidFill>
            <a:miter lim="400000"/>
          </a:ln>
        </p:spPr>
        <p:txBody>
          <a:bodyPr lIns="45719" rIns="45719" anchor="ctr"/>
          <a:lstStyle/>
          <a:p>
            <a:pPr defTabSz="914407"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Circle"/>
          <p:cNvSpPr/>
          <p:nvPr/>
        </p:nvSpPr>
        <p:spPr>
          <a:xfrm>
            <a:off x="4863434" y="4264238"/>
            <a:ext cx="266302" cy="304910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6565"/>
            </a:solidFill>
            <a:miter lim="400000"/>
          </a:ln>
        </p:spPr>
        <p:txBody>
          <a:bodyPr lIns="45719" rIns="45719" anchor="ctr"/>
          <a:lstStyle/>
          <a:p>
            <a:pPr defTabSz="914407"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4F1B9955-D47F-46E8-93BC-0B6366DA20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16024" y="1476632"/>
            <a:ext cx="1555147" cy="875100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22F403F0-DE97-43D2-9589-BCE5EDD63B3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48824" y="1134697"/>
            <a:ext cx="894434" cy="663869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C36B8A8C-5901-42DB-9492-EC459BDBF8C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29736" y="2612124"/>
            <a:ext cx="1550652" cy="895217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431F7679-0DD9-44D0-A777-C6D6C8D05F6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18655" y="2068500"/>
            <a:ext cx="4016877" cy="2600868"/>
          </a:xfrm>
          <a:prstGeom prst="rect">
            <a:avLst/>
          </a:prstGeom>
        </p:spPr>
      </p:pic>
      <p:sp>
        <p:nvSpPr>
          <p:cNvPr id="34" name="Rectangle 2">
            <a:extLst>
              <a:ext uri="{FF2B5EF4-FFF2-40B4-BE49-F238E27FC236}">
                <a16:creationId xmlns:a16="http://schemas.microsoft.com/office/drawing/2014/main" id="{6EC55110-139C-40AE-8D94-212C6DDBEDEA}"/>
              </a:ext>
            </a:extLst>
          </p:cNvPr>
          <p:cNvSpPr txBox="1">
            <a:spLocks noChangeArrowheads="1"/>
          </p:cNvSpPr>
          <p:nvPr/>
        </p:nvSpPr>
        <p:spPr>
          <a:xfrm>
            <a:off x="1863677" y="244261"/>
            <a:ext cx="4632533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оздание коробочных решений</a:t>
            </a:r>
            <a:endParaRPr lang="en-GB" sz="1600" b="1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61893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2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12" name="Прямоугольник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00150" y="1730896"/>
            <a:ext cx="7486649" cy="1015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57" tIns="45678" rIns="91357" bIns="45678">
            <a:spAutoFit/>
          </a:bodyPr>
          <a:lstStyle/>
          <a:p>
            <a:pPr marL="457200" indent="-457200" algn="ctr" defTabSz="913572" fontAlgn="base"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ru-RU" sz="2000" b="1" i="1" dirty="0" smtClean="0">
                <a:solidFill>
                  <a:srgbClr val="B0C8E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дартизация</a:t>
            </a:r>
            <a:r>
              <a:rPr lang="ru-RU" sz="2000" b="1" i="1" dirty="0">
                <a:solidFill>
                  <a:srgbClr val="B0C8E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endParaRPr lang="ru-RU" sz="2000" b="1" i="1" dirty="0" smtClean="0">
              <a:solidFill>
                <a:srgbClr val="B0C8E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913572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 smtClean="0">
                <a:solidFill>
                  <a:srgbClr val="B0C8E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</a:t>
            </a:r>
            <a:r>
              <a:rPr lang="ru-RU" sz="2000" b="1" i="1" dirty="0">
                <a:solidFill>
                  <a:srgbClr val="B0C8E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ов, поддерживающих улучшенный процесс</a:t>
            </a:r>
            <a:endParaRPr lang="ru-RU" sz="1100" b="1" i="1" dirty="0">
              <a:solidFill>
                <a:srgbClr val="B0C8E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67663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20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4" name="Прямоугольник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6281" y="1880632"/>
            <a:ext cx="8044101" cy="9540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57" tIns="45678" rIns="91357" bIns="45678">
            <a:spAutoFit/>
          </a:bodyPr>
          <a:lstStyle/>
          <a:p>
            <a:pPr algn="ctr" defTabSz="913572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i="1" dirty="0">
                <a:solidFill>
                  <a:srgbClr val="B0C8E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Продолжение улучшения оптимизированного процесса</a:t>
            </a:r>
          </a:p>
        </p:txBody>
      </p:sp>
    </p:spTree>
    <p:extLst>
      <p:ext uri="{BB962C8B-B14F-4D97-AF65-F5344CB8AC3E}">
        <p14:creationId xmlns:p14="http://schemas.microsoft.com/office/powerpoint/2010/main" val="37543533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21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713314" y="274602"/>
            <a:ext cx="6497977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1600" b="1" kern="0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а визуального оперативного управления процессом </a:t>
            </a:r>
            <a:endParaRPr lang="en-GB" sz="1600" b="1" kern="0" dirty="0">
              <a:solidFill>
                <a:srgbClr val="0032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17"/>
          <p:cNvSpPr txBox="1">
            <a:spLocks noChangeArrowheads="1"/>
          </p:cNvSpPr>
          <p:nvPr/>
        </p:nvSpPr>
        <p:spPr bwMode="auto">
          <a:xfrm>
            <a:off x="131458" y="3796320"/>
            <a:ext cx="8825506" cy="919109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7260" tIns="43630" rIns="87260" bIns="43630">
            <a:spAutoFit/>
          </a:bodyPr>
          <a:lstStyle>
            <a:lvl1pPr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68288" lvl="1" indent="-268288" algn="just" fontAlgn="base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</a:pPr>
            <a:r>
              <a:rPr lang="ru-RU" altLang="ru-RU" sz="1800" b="0" dirty="0">
                <a:solidFill>
                  <a:srgbClr val="000000"/>
                </a:solidFill>
                <a:cs typeface="Arial" panose="020B0604020202020204" pitchFamily="34" charset="0"/>
              </a:rPr>
              <a:t>Актуальная визуализация, привязанная к оперативным решениям в процессе, необходима, чтобы управлять процессом в новом режиме, обеспечивая его постоянное улучшение</a:t>
            </a:r>
            <a:endParaRPr lang="de-DE" altLang="ru-RU" b="0" dirty="0">
              <a:solidFill>
                <a:srgbClr val="3F3F5D"/>
              </a:solidFill>
              <a:cs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7CAA920-7BA2-4475-ACFA-4E6222D85B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5909" y="703230"/>
            <a:ext cx="4281055" cy="309309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C08C2F8-8D08-48B7-8458-4D97EDE047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458" y="756179"/>
            <a:ext cx="4426687" cy="2987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4952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22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422244" y="312928"/>
            <a:ext cx="6948374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торая фаза улучшения процесса через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лин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-проект</a:t>
            </a:r>
            <a:endParaRPr lang="en-GB" sz="1600" b="1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5E7B207-2EC4-49EA-BB48-13FC83E81D05}"/>
              </a:ext>
            </a:extLst>
          </p:cNvPr>
          <p:cNvSpPr/>
          <p:nvPr/>
        </p:nvSpPr>
        <p:spPr>
          <a:xfrm>
            <a:off x="4613565" y="1090459"/>
            <a:ext cx="4204854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indent="-360363" algn="just"/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Иногда установленные цели по улучшению очень </a:t>
            </a:r>
            <a:r>
              <a:rPr lang="ru-RU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мбициозны</a:t>
            </a: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 и полугодовой проект не в состоянии обеспечить их достижение. В таком случае сразу за первой фазой (</a:t>
            </a:r>
            <a:r>
              <a:rPr lang="ru-RU" sz="1400" kern="0" dirty="0" err="1">
                <a:latin typeface="Arial" panose="020B0604020202020204" pitchFamily="34" charset="0"/>
                <a:cs typeface="Arial" panose="020B0604020202020204" pitchFamily="34" charset="0"/>
              </a:rPr>
              <a:t>лин</a:t>
            </a: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-проект) можно открыть </a:t>
            </a:r>
            <a:r>
              <a:rPr lang="ru-RU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торую фазу</a:t>
            </a: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, пересмотрев некоторые параметры (команда, заказчик и пр.)</a:t>
            </a:r>
          </a:p>
          <a:p>
            <a:pPr marL="360363" indent="-360363" algn="just"/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Практика показывает, что полугодовая фаза оптимальна, т.е. проекты </a:t>
            </a:r>
            <a:r>
              <a:rPr lang="ru-RU" sz="14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длиной </a:t>
            </a: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в год и больше лучше разбивать на более управляемые </a:t>
            </a:r>
            <a:r>
              <a:rPr lang="ru-RU" sz="1400" kern="0" dirty="0" err="1">
                <a:latin typeface="Arial" panose="020B0604020202020204" pitchFamily="34" charset="0"/>
                <a:cs typeface="Arial" panose="020B0604020202020204" pitchFamily="34" charset="0"/>
              </a:rPr>
              <a:t>подпроекты</a:t>
            </a: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 (фазы). Важно, чтобы каждая фаза заканчивалась </a:t>
            </a:r>
            <a:r>
              <a:rPr lang="ru-RU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нениями на площадке </a:t>
            </a: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процесса, пусть даже пока и </a:t>
            </a:r>
            <a:r>
              <a:rPr lang="ru-RU" sz="14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небольшими</a:t>
            </a:r>
            <a:endParaRPr lang="ru-RU" sz="14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70CA244-5883-472C-932A-7411F62087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980" y="1149928"/>
            <a:ext cx="4287959" cy="2970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8527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23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C2D93388-CA5C-45C7-A604-A3A31278B314}"/>
              </a:ext>
            </a:extLst>
          </p:cNvPr>
          <p:cNvSpPr txBox="1">
            <a:spLocks noChangeArrowheads="1"/>
          </p:cNvSpPr>
          <p:nvPr/>
        </p:nvSpPr>
        <p:spPr>
          <a:xfrm>
            <a:off x="166256" y="248486"/>
            <a:ext cx="7668489" cy="742113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Увидеть оптимизируемый процесс в потоке создания ценности в организации («сквозной поток»)</a:t>
            </a:r>
            <a:endParaRPr lang="en-GB" sz="1600" b="1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BCF2F2B-B2EA-40FE-BFFF-B223DA8F7505}"/>
              </a:ext>
            </a:extLst>
          </p:cNvPr>
          <p:cNvSpPr/>
          <p:nvPr/>
        </p:nvSpPr>
        <p:spPr>
          <a:xfrm>
            <a:off x="6120685" y="1127923"/>
            <a:ext cx="2739297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8" indent="-268288" algn="just"/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После оптимизации процесса важно подняться выше и увидеть этот процесс и его роль  </a:t>
            </a:r>
            <a:r>
              <a:rPr lang="ru-RU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отоке создания ценности </a:t>
            </a: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основных продуктов организации. Часто дальнейшая оптимизация процесса связана именно с оптимизацией уже самого потока создания ценности и новые проекты уже открываются </a:t>
            </a:r>
            <a:r>
              <a:rPr lang="ru-RU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стыках процессов и структурных </a:t>
            </a:r>
            <a:r>
              <a:rPr lang="ru-RU" sz="1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иниц, или организаций.</a:t>
            </a:r>
            <a:endParaRPr lang="ru-RU" sz="14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76CFB44-7193-43B1-A69A-C805BC6D45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873" y="1188659"/>
            <a:ext cx="5722394" cy="3202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8031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24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4" name="Прямоугольник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30972" y="2123087"/>
            <a:ext cx="8044101" cy="523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57" tIns="45678" rIns="91357" bIns="45678">
            <a:spAutoFit/>
          </a:bodyPr>
          <a:lstStyle/>
          <a:p>
            <a:pPr algn="ctr" defTabSz="913572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i="1" dirty="0">
                <a:solidFill>
                  <a:srgbClr val="B0C8E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 Подведение итогов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26864803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25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1851323" y="299073"/>
            <a:ext cx="5103659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Формальная фиксация итогов проекта</a:t>
            </a:r>
            <a:endParaRPr lang="en-GB" sz="1600" b="1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5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71" b="4536"/>
          <a:stretch>
            <a:fillRect/>
          </a:stretch>
        </p:blipFill>
        <p:spPr bwMode="auto">
          <a:xfrm>
            <a:off x="4641273" y="990599"/>
            <a:ext cx="4336673" cy="3462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15466E6-0FA1-440A-9EDE-26A684CAF8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0626" y="727701"/>
            <a:ext cx="4261137" cy="3843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0623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26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8266" y="1954462"/>
            <a:ext cx="6632752" cy="286232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sz="1200" kern="0" dirty="0">
                <a:latin typeface="Arial" panose="020B0604020202020204" pitchFamily="34" charset="0"/>
                <a:cs typeface="Arial" panose="020B0604020202020204" pitchFamily="34" charset="0"/>
              </a:rPr>
              <a:t>Что можно было бы сделать по-другому, чтобы быстрее добиться результата: ______________________________________________________________________________________________________________________________________________________________________________________________________</a:t>
            </a:r>
          </a:p>
          <a:p>
            <a:pPr algn="ctr"/>
            <a:endParaRPr lang="ru-RU" altLang="ru-RU" sz="12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altLang="ru-RU" sz="1200" kern="0" dirty="0">
                <a:latin typeface="Arial" panose="020B0604020202020204" pitchFamily="34" charset="0"/>
                <a:cs typeface="Arial" panose="020B0604020202020204" pitchFamily="34" charset="0"/>
              </a:rPr>
              <a:t>Как мы сделаем следующий проект быстрее и </a:t>
            </a:r>
            <a:r>
              <a:rPr lang="ru-RU" altLang="ru-RU" sz="1200" kern="0" dirty="0" err="1">
                <a:latin typeface="Arial" panose="020B0604020202020204" pitchFamily="34" charset="0"/>
                <a:cs typeface="Arial" panose="020B0604020202020204" pitchFamily="34" charset="0"/>
              </a:rPr>
              <a:t>амбициознее</a:t>
            </a:r>
            <a:r>
              <a:rPr lang="ru-RU" altLang="ru-RU" sz="1200" kern="0" dirty="0">
                <a:latin typeface="Arial" panose="020B0604020202020204" pitchFamily="34" charset="0"/>
                <a:cs typeface="Arial" panose="020B0604020202020204" pitchFamily="34" charset="0"/>
              </a:rPr>
              <a:t>: ______________________________________________________________________________________________________________________________________________________________________________________________________</a:t>
            </a:r>
          </a:p>
          <a:p>
            <a:pPr algn="ctr"/>
            <a:endParaRPr lang="ru-RU" altLang="ru-RU" sz="12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altLang="ru-RU" sz="1200" kern="0" dirty="0">
                <a:latin typeface="Arial" panose="020B0604020202020204" pitchFamily="34" charset="0"/>
                <a:cs typeface="Arial" panose="020B0604020202020204" pitchFamily="34" charset="0"/>
              </a:rPr>
              <a:t>В чем мы себя удивили (понимание проблем, креативность решений, возможности команды и пр.):</a:t>
            </a:r>
          </a:p>
          <a:p>
            <a:pPr algn="ctr"/>
            <a:r>
              <a:rPr lang="ru-RU" altLang="ru-RU" sz="1200" kern="0" dirty="0">
                <a:latin typeface="Arial" panose="020B0604020202020204" pitchFamily="34" charset="0"/>
                <a:cs typeface="Arial" panose="020B0604020202020204" pitchFamily="34" charset="0"/>
              </a:rPr>
              <a:t>_______________________________________________________________________________________________________________________________________________________________________________________________________________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71014" y="285218"/>
            <a:ext cx="7112568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1600" b="1" dirty="0">
                <a:solidFill>
                  <a:schemeClr val="hlink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Капитализация полученного лидерами опыта в проекте</a:t>
            </a:r>
            <a:endParaRPr lang="en-GB" sz="1600" b="1" dirty="0">
              <a:solidFill>
                <a:schemeClr val="hlink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EF26596-B478-4B97-8C65-F32EADA06DCA}"/>
              </a:ext>
            </a:extLst>
          </p:cNvPr>
          <p:cNvSpPr/>
          <p:nvPr/>
        </p:nvSpPr>
        <p:spPr>
          <a:xfrm>
            <a:off x="243135" y="795545"/>
            <a:ext cx="861154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8" indent="-268288" algn="just"/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После проекта важно провести </a:t>
            </a: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формальную встречу 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команды проекта, чтобы подвести честные итоги и сделать выводы в отношении состоятельности изменений, роли каждого участника, сделанных ошибок и выводов на будущие изменения процесса и организации в целом</a:t>
            </a:r>
            <a:endParaRPr lang="ru-RU" sz="1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CA6D838-079B-4D3F-811B-9B98F45265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8627" y="2204386"/>
            <a:ext cx="2085969" cy="165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6425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27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1851323" y="299073"/>
            <a:ext cx="5013604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Мотивация участников проекта</a:t>
            </a:r>
            <a:endParaRPr lang="en-GB" sz="1600" b="1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365392D5-108C-4357-A1AF-3195B695EF1C}"/>
              </a:ext>
            </a:extLst>
          </p:cNvPr>
          <p:cNvSpPr/>
          <p:nvPr/>
        </p:nvSpPr>
        <p:spPr>
          <a:xfrm>
            <a:off x="4544291" y="748820"/>
            <a:ext cx="3969327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Каждый участник проекта должен получить </a:t>
            </a:r>
            <a:r>
              <a:rPr lang="ru-RU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-то ценное</a:t>
            </a:r>
            <a:r>
              <a:rPr lang="ru-RU" sz="1400" kern="0" dirty="0">
                <a:latin typeface="Arial" panose="020B0604020202020204" pitchFamily="34" charset="0"/>
                <a:cs typeface="Arial" panose="020B0604020202020204" pitchFamily="34" charset="0"/>
              </a:rPr>
              <a:t>: опыт, новую должность, деньги, статус, благодарность, внимание руководства, уход домой вовремя, удобное рабочее место, более простой процесс, новые друзья и пр. Проконтролируйте это, иначе </a:t>
            </a:r>
            <a:r>
              <a:rPr lang="ru-RU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деры изменений превратятся в лидеров сопротивления</a:t>
            </a:r>
          </a:p>
        </p:txBody>
      </p:sp>
      <p:sp>
        <p:nvSpPr>
          <p:cNvPr id="5" name="Text Box 17">
            <a:extLst>
              <a:ext uri="{FF2B5EF4-FFF2-40B4-BE49-F238E27FC236}">
                <a16:creationId xmlns:a16="http://schemas.microsoft.com/office/drawing/2014/main" id="{508C9882-9A78-4917-85A2-F1457281A2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52" y="748820"/>
            <a:ext cx="3739476" cy="3734893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7260" tIns="43630" rIns="87260" bIns="43630">
            <a:spAutoFit/>
          </a:bodyPr>
          <a:lstStyle>
            <a:lvl1pPr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68288" lvl="1" indent="-268288" algn="just" fontAlgn="base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</a:pPr>
            <a:r>
              <a:rPr lang="ru-RU" altLang="ru-RU" sz="1100" b="0" i="1" dirty="0">
                <a:solidFill>
                  <a:srgbClr val="000000"/>
                </a:solidFill>
                <a:cs typeface="Arial" panose="020B0604020202020204" pitchFamily="34" charset="0"/>
              </a:rPr>
              <a:t>Тут должна быть картинка вашей команды. Вставьте ее сами…</a:t>
            </a:r>
          </a:p>
          <a:p>
            <a:pPr marL="268288" lvl="1" indent="-268288" algn="just" fontAlgn="base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</a:pPr>
            <a:endParaRPr lang="ru-RU" altLang="ru-RU" sz="1800" b="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268288" lvl="1" indent="-268288" algn="just" fontAlgn="base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</a:pPr>
            <a:r>
              <a:rPr lang="ru-RU" altLang="ru-RU" sz="1800" b="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</a:p>
          <a:p>
            <a:pPr marL="268288" lvl="1" indent="-268288" algn="just" fontAlgn="base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</a:pPr>
            <a:endParaRPr lang="ru-RU" altLang="ru-RU" sz="1800" b="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268288" lvl="1" indent="-268288" algn="just" fontAlgn="base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</a:pPr>
            <a:endParaRPr lang="ru-RU" altLang="ru-RU" sz="1800" b="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268288" lvl="1" indent="-268288" algn="just" fontAlgn="base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</a:pPr>
            <a:endParaRPr lang="ru-RU" altLang="ru-RU" sz="1800" b="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268288" lvl="1" indent="-268288" algn="just" fontAlgn="base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</a:pPr>
            <a:endParaRPr lang="ru-RU" altLang="ru-RU" sz="1800" b="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268288" lvl="1" indent="-268288" algn="just" fontAlgn="base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</a:pPr>
            <a:endParaRPr lang="de-DE" altLang="ru-RU" sz="1800" b="0" dirty="0">
              <a:solidFill>
                <a:srgbClr val="3F3F5D"/>
              </a:solidFill>
              <a:cs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44B162D-5BC9-4C2F-9259-774A4D54EF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36998" y="2616266"/>
            <a:ext cx="2667912" cy="1888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4580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28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D552603-3D59-4E0E-896B-4B538C8DBBBF}"/>
              </a:ext>
            </a:extLst>
          </p:cNvPr>
          <p:cNvSpPr txBox="1">
            <a:spLocks noChangeArrowheads="1"/>
          </p:cNvSpPr>
          <p:nvPr/>
        </p:nvSpPr>
        <p:spPr>
          <a:xfrm>
            <a:off x="368886" y="292145"/>
            <a:ext cx="6696931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лан развития наиболее состоятельных лидеров</a:t>
            </a:r>
            <a:endParaRPr lang="en-GB" sz="1600" b="1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7B5ECD8-77CC-4466-BC83-FA6A105CECB0}"/>
              </a:ext>
            </a:extLst>
          </p:cNvPr>
          <p:cNvSpPr/>
          <p:nvPr/>
        </p:nvSpPr>
        <p:spPr>
          <a:xfrm>
            <a:off x="92364" y="777294"/>
            <a:ext cx="3495963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Проекты по улучшению - один из лучших </a:t>
            </a: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собов проявления лидерского потенциала</a:t>
            </a: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. Наиболее отличившиеся лидеры могут уже развиваться по своей персональной программе и стать кадровым резервом организации 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1409527-28B4-4ACE-BA56-3F1216C0DF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161" y="3309710"/>
            <a:ext cx="2872221" cy="1436111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9C39B6C-2116-47ED-98F6-FD66CCF1AD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5960" y="872836"/>
            <a:ext cx="5164971" cy="3805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6435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29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3" name="Прямоугольник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8861" y="2026105"/>
            <a:ext cx="8044101" cy="9540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57" tIns="45678" rIns="91357" bIns="45678">
            <a:spAutoFit/>
          </a:bodyPr>
          <a:lstStyle/>
          <a:p>
            <a:pPr algn="ctr" defTabSz="913572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i="1" dirty="0">
                <a:solidFill>
                  <a:srgbClr val="B0C8E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. Обучение и продвижение темы бережливости </a:t>
            </a:r>
          </a:p>
        </p:txBody>
      </p:sp>
    </p:spTree>
    <p:extLst>
      <p:ext uri="{BB962C8B-B14F-4D97-AF65-F5344CB8AC3E}">
        <p14:creationId xmlns:p14="http://schemas.microsoft.com/office/powerpoint/2010/main" val="35198887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3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68712796-50B9-418E-BD69-CA2F745E928E}"/>
              </a:ext>
            </a:extLst>
          </p:cNvPr>
          <p:cNvSpPr/>
          <p:nvPr/>
        </p:nvSpPr>
        <p:spPr>
          <a:xfrm>
            <a:off x="3073734" y="410042"/>
            <a:ext cx="295946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kern="0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определения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770A760-DEAE-4C16-9129-687638617135}"/>
              </a:ext>
            </a:extLst>
          </p:cNvPr>
          <p:cNvSpPr txBox="1"/>
          <p:nvPr/>
        </p:nvSpPr>
        <p:spPr>
          <a:xfrm>
            <a:off x="781839" y="1003955"/>
            <a:ext cx="6173597" cy="1319218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7260" tIns="43630" rIns="87260" bIns="43630">
            <a:spAutoFit/>
          </a:bodyPr>
          <a:lstStyle>
            <a:defPPr>
              <a:defRPr lang="ru-RU"/>
            </a:defPPr>
            <a:lvl1pPr defTabSz="871538" eaLnBrk="0" hangingPunct="0">
              <a:defRPr sz="2000" b="1">
                <a:latin typeface="Arial" pitchFamily="34" charset="0"/>
              </a:defRPr>
            </a:lvl1pPr>
            <a:lvl2pPr marL="268288" lvl="1" indent="-268288" algn="just" defTabSz="871538" eaLnBrk="0" fontAlgn="base" hangingPunct="0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  <a:defRPr sz="2000" b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defTabSz="871538" eaLnBrk="0" hangingPunct="0">
              <a:defRPr sz="2000" b="1">
                <a:latin typeface="Arial" pitchFamily="34" charset="0"/>
              </a:defRPr>
            </a:lvl3pPr>
            <a:lvl4pPr marL="1600200" indent="-228600" defTabSz="871538" eaLnBrk="0" hangingPunct="0">
              <a:defRPr sz="2000" b="1">
                <a:latin typeface="Arial" pitchFamily="34" charset="0"/>
              </a:defRPr>
            </a:lvl4pPr>
            <a:lvl5pPr marL="2057400" indent="-228600" defTabSz="871538" eaLnBrk="0" hangingPunct="0">
              <a:defRPr sz="2000" b="1">
                <a:latin typeface="Arial" pitchFamily="34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pitchFamily="34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pitchFamily="34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pitchFamily="34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pitchFamily="34" charset="0"/>
              </a:defRPr>
            </a:lvl9pPr>
          </a:lstStyle>
          <a:p>
            <a:pPr marL="360363" indent="-360363" algn="just"/>
            <a:r>
              <a:rPr lang="ru-RU" sz="1600" dirty="0">
                <a:solidFill>
                  <a:srgbClr val="0070C0"/>
                </a:solidFill>
                <a:cs typeface="Arial" panose="020B0604020202020204" pitchFamily="34" charset="0"/>
              </a:rPr>
              <a:t>Стандартизированная работа </a:t>
            </a:r>
            <a:r>
              <a:rPr lang="ru-RU" sz="1600" b="0" dirty="0">
                <a:solidFill>
                  <a:srgbClr val="000000"/>
                </a:solidFill>
                <a:cs typeface="Arial" panose="020B0604020202020204" pitchFamily="34" charset="0"/>
              </a:rPr>
              <a:t>(</a:t>
            </a:r>
            <a:r>
              <a:rPr lang="ru-RU" sz="1600" b="0" dirty="0" err="1">
                <a:solidFill>
                  <a:srgbClr val="000000"/>
                </a:solidFill>
                <a:cs typeface="Arial" panose="020B0604020202020204" pitchFamily="34" charset="0"/>
              </a:rPr>
              <a:t>standard</a:t>
            </a:r>
            <a:r>
              <a:rPr lang="ru-RU" sz="1600" b="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ru-RU" sz="1600" b="0" dirty="0" err="1">
                <a:solidFill>
                  <a:srgbClr val="000000"/>
                </a:solidFill>
                <a:cs typeface="Arial" panose="020B0604020202020204" pitchFamily="34" charset="0"/>
              </a:rPr>
              <a:t>work</a:t>
            </a:r>
            <a:r>
              <a:rPr lang="ru-RU" sz="1600" b="0" dirty="0">
                <a:solidFill>
                  <a:srgbClr val="000000"/>
                </a:solidFill>
                <a:cs typeface="Arial" panose="020B0604020202020204" pitchFamily="34" charset="0"/>
              </a:rPr>
              <a:t>): Точное описание каждого действия, включающее время такта, время цикла, последовательность выполнения определенных задач, минимальное количество запасов для выполнения работы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DE5A25D-3780-4088-BDD4-CBDDD9C5D60F}"/>
              </a:ext>
            </a:extLst>
          </p:cNvPr>
          <p:cNvSpPr txBox="1"/>
          <p:nvPr/>
        </p:nvSpPr>
        <p:spPr>
          <a:xfrm>
            <a:off x="3633516" y="2480515"/>
            <a:ext cx="5285632" cy="1072997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7260" tIns="43630" rIns="87260" bIns="43630">
            <a:spAutoFit/>
          </a:bodyPr>
          <a:lstStyle>
            <a:defPPr>
              <a:defRPr lang="ru-RU"/>
            </a:defPPr>
            <a:lvl1pPr defTabSz="871538" eaLnBrk="0" hangingPunct="0">
              <a:defRPr sz="2000" b="1">
                <a:latin typeface="Arial" pitchFamily="34" charset="0"/>
              </a:defRPr>
            </a:lvl1pPr>
            <a:lvl2pPr marL="268288" lvl="1" indent="-268288" algn="just" defTabSz="871538" eaLnBrk="0" fontAlgn="base" hangingPunct="0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  <a:defRPr sz="2000" b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defTabSz="871538" eaLnBrk="0" hangingPunct="0">
              <a:defRPr sz="2000" b="1">
                <a:latin typeface="Arial" pitchFamily="34" charset="0"/>
              </a:defRPr>
            </a:lvl3pPr>
            <a:lvl4pPr marL="1600200" indent="-228600" defTabSz="871538" eaLnBrk="0" hangingPunct="0">
              <a:defRPr sz="2000" b="1">
                <a:latin typeface="Arial" pitchFamily="34" charset="0"/>
              </a:defRPr>
            </a:lvl4pPr>
            <a:lvl5pPr marL="2057400" indent="-228600" defTabSz="871538" eaLnBrk="0" hangingPunct="0">
              <a:defRPr sz="2000" b="1">
                <a:latin typeface="Arial" pitchFamily="34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pitchFamily="34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pitchFamily="34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pitchFamily="34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pitchFamily="34" charset="0"/>
              </a:defRPr>
            </a:lvl9pPr>
          </a:lstStyle>
          <a:p>
            <a:pPr marL="268288" indent="-268288" algn="just"/>
            <a:r>
              <a:rPr lang="ru-RU" sz="1600" dirty="0">
                <a:solidFill>
                  <a:srgbClr val="0070C0"/>
                </a:solidFill>
                <a:cs typeface="Arial" panose="020B0604020202020204" pitchFamily="34" charset="0"/>
              </a:rPr>
              <a:t>Стандартизация процессов </a:t>
            </a:r>
            <a:r>
              <a:rPr lang="ru-RU" sz="1600" b="0" dirty="0">
                <a:solidFill>
                  <a:srgbClr val="000000"/>
                </a:solidFill>
                <a:cs typeface="Arial" panose="020B0604020202020204" pitchFamily="34" charset="0"/>
              </a:rPr>
              <a:t>– направление работы в области трансформации организации, направленное на повышение управляемости и воспроизводимости процессов</a:t>
            </a:r>
            <a:endParaRPr lang="ru-RU" sz="1600" dirty="0"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FE25182-F24C-4142-AF8C-12DE9E513060}"/>
              </a:ext>
            </a:extLst>
          </p:cNvPr>
          <p:cNvSpPr txBox="1"/>
          <p:nvPr/>
        </p:nvSpPr>
        <p:spPr>
          <a:xfrm>
            <a:off x="3633516" y="3746795"/>
            <a:ext cx="5285632" cy="826776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7260" tIns="43630" rIns="87260" bIns="43630">
            <a:spAutoFit/>
          </a:bodyPr>
          <a:lstStyle>
            <a:defPPr>
              <a:defRPr lang="ru-RU"/>
            </a:defPPr>
            <a:lvl1pPr defTabSz="871538" eaLnBrk="0" hangingPunct="0">
              <a:defRPr sz="2000" b="1">
                <a:latin typeface="Arial" pitchFamily="34" charset="0"/>
              </a:defRPr>
            </a:lvl1pPr>
            <a:lvl2pPr marL="268288" lvl="1" indent="-268288" algn="just" defTabSz="871538" eaLnBrk="0" fontAlgn="base" hangingPunct="0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  <a:defRPr sz="2000" b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defTabSz="871538" eaLnBrk="0" hangingPunct="0">
              <a:defRPr sz="2000" b="1">
                <a:latin typeface="Arial" pitchFamily="34" charset="0"/>
              </a:defRPr>
            </a:lvl3pPr>
            <a:lvl4pPr marL="1600200" indent="-228600" defTabSz="871538" eaLnBrk="0" hangingPunct="0">
              <a:defRPr sz="2000" b="1">
                <a:latin typeface="Arial" pitchFamily="34" charset="0"/>
              </a:defRPr>
            </a:lvl4pPr>
            <a:lvl5pPr marL="2057400" indent="-228600" defTabSz="871538" eaLnBrk="0" hangingPunct="0">
              <a:defRPr sz="2000" b="1">
                <a:latin typeface="Arial" pitchFamily="34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pitchFamily="34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pitchFamily="34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pitchFamily="34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pitchFamily="34" charset="0"/>
              </a:defRPr>
            </a:lvl9pPr>
          </a:lstStyle>
          <a:p>
            <a:pPr marL="268288" indent="-268288" algn="just"/>
            <a:r>
              <a:rPr lang="ru-RU" sz="1600" dirty="0">
                <a:solidFill>
                  <a:srgbClr val="0070C0"/>
                </a:solidFill>
                <a:cs typeface="Arial" panose="020B0604020202020204" pitchFamily="34" charset="0"/>
              </a:rPr>
              <a:t>Стандартизированная работа </a:t>
            </a:r>
            <a:r>
              <a:rPr lang="ru-RU" sz="1600" b="0" dirty="0">
                <a:solidFill>
                  <a:srgbClr val="000000"/>
                </a:solidFill>
                <a:cs typeface="Arial" panose="020B0604020202020204" pitchFamily="34" charset="0"/>
              </a:rPr>
              <a:t>(как </a:t>
            </a:r>
            <a:r>
              <a:rPr lang="ru-RU" sz="1600" b="0" dirty="0" err="1">
                <a:solidFill>
                  <a:srgbClr val="000000"/>
                </a:solidFill>
                <a:cs typeface="Arial" panose="020B0604020202020204" pitchFamily="34" charset="0"/>
              </a:rPr>
              <a:t>лин</a:t>
            </a:r>
            <a:r>
              <a:rPr lang="ru-RU" sz="1600" b="0" dirty="0">
                <a:solidFill>
                  <a:srgbClr val="000000"/>
                </a:solidFill>
                <a:cs typeface="Arial" panose="020B0604020202020204" pitchFamily="34" charset="0"/>
              </a:rPr>
              <a:t>-инструмент) – один из ключевых классических инструментов любой Производственной Системы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1262756F-6039-49F6-9085-6116694E59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9379" y="3350350"/>
            <a:ext cx="2781816" cy="1192207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BF7B31EB-5867-4882-BB6E-4C1016D11F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78562" y="817872"/>
            <a:ext cx="1581462" cy="1610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7553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30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3802" y="3219344"/>
            <a:ext cx="431423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kern="0" dirty="0">
                <a:latin typeface="Arial" panose="020B0604020202020204" pitchFamily="34" charset="0"/>
                <a:cs typeface="Arial" panose="020B0604020202020204" pitchFamily="34" charset="0"/>
              </a:rPr>
              <a:t>Фабрика процессов базируется только на </a:t>
            </a:r>
            <a:r>
              <a:rPr lang="ru-RU" sz="1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линных проблемах и подлинных решениях </a:t>
            </a:r>
            <a:r>
              <a:rPr lang="ru-RU" sz="1200" kern="0" dirty="0">
                <a:latin typeface="Arial" panose="020B0604020202020204" pitchFamily="34" charset="0"/>
                <a:cs typeface="Arial" panose="020B0604020202020204" pitchFamily="34" charset="0"/>
              </a:rPr>
              <a:t>этих проблем. Остальное – деловые игры</a:t>
            </a: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1387196" y="326179"/>
            <a:ext cx="4223895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оздание учебных материалов</a:t>
            </a:r>
            <a:endParaRPr lang="en-GB" sz="1600" b="1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9005F37-F728-4B8B-9D92-B386A0C5B2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983" y="1158199"/>
            <a:ext cx="3954017" cy="1838798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F1E9547-89D0-4C5E-A8F4-348C57BA6857}"/>
              </a:ext>
            </a:extLst>
          </p:cNvPr>
          <p:cNvSpPr/>
          <p:nvPr/>
        </p:nvSpPr>
        <p:spPr>
          <a:xfrm>
            <a:off x="160153" y="3865675"/>
            <a:ext cx="41076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kern="0" dirty="0">
                <a:latin typeface="Arial" panose="020B0604020202020204" pitchFamily="34" charset="0"/>
                <a:cs typeface="Arial" panose="020B0604020202020204" pitchFamily="34" charset="0"/>
              </a:rPr>
              <a:t>Самый лучший </a:t>
            </a:r>
            <a:r>
              <a:rPr lang="ru-RU" sz="1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нер на фабрике  </a:t>
            </a:r>
            <a:r>
              <a:rPr lang="ru-RU" sz="1200" kern="0" dirty="0">
                <a:latin typeface="Arial" panose="020B0604020202020204" pitchFamily="34" charset="0"/>
                <a:cs typeface="Arial" panose="020B0604020202020204" pitchFamily="34" charset="0"/>
              </a:rPr>
              <a:t>– это лидер реализованного проекта, рассказывающий свой проект, превращенный в «Фабрику процессов»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88D284FB-E185-425E-91AD-061FD5A7CA81}"/>
              </a:ext>
            </a:extLst>
          </p:cNvPr>
          <p:cNvSpPr/>
          <p:nvPr/>
        </p:nvSpPr>
        <p:spPr>
          <a:xfrm>
            <a:off x="4474389" y="3681009"/>
            <a:ext cx="434663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ебный кейс</a:t>
            </a:r>
            <a:r>
              <a:rPr lang="ru-RU" sz="1200" kern="0" dirty="0">
                <a:latin typeface="Arial" panose="020B0604020202020204" pitchFamily="34" charset="0"/>
                <a:cs typeface="Arial" panose="020B0604020202020204" pitchFamily="34" charset="0"/>
              </a:rPr>
              <a:t>, написанный по мотивам реализованного проекта, позволяющий полноценно «прожить» из образа лидера проекта. Может быть разработан в любой литературной форме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074DF47-BDE9-44AD-B9A8-FE1E2C7250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23033" y="994160"/>
            <a:ext cx="4352921" cy="2548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1806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31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484909" y="299073"/>
            <a:ext cx="5811982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оздание материалов для вовлечения в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лин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-культуру</a:t>
            </a:r>
            <a:endParaRPr lang="en-GB" sz="1600" b="1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D8553CE-FBCA-44AB-A291-EA2CB0BAC059}"/>
              </a:ext>
            </a:extLst>
          </p:cNvPr>
          <p:cNvSpPr txBox="1"/>
          <p:nvPr/>
        </p:nvSpPr>
        <p:spPr>
          <a:xfrm>
            <a:off x="131873" y="2799273"/>
            <a:ext cx="4934526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0363" indent="-360363" algn="just"/>
            <a:r>
              <a:rPr lang="ru-RU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Лучший способ популяризации </a:t>
            </a:r>
            <a:r>
              <a:rPr lang="ru-RU" sz="20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лин</a:t>
            </a:r>
            <a:r>
              <a:rPr lang="ru-RU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-изменений – это </a:t>
            </a:r>
            <a:r>
              <a:rPr lang="ru-RU" sz="20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Простые истории» </a:t>
            </a:r>
            <a:r>
              <a:rPr lang="ru-RU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о реализованных проектах, в которых понятным языком изложена суть изменений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C70840C-D856-444C-B143-0E33421C5F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086" y="857021"/>
            <a:ext cx="4413151" cy="1785042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F5FB95-6AC4-4A53-B54A-4424F26B34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7560" y="853636"/>
            <a:ext cx="3448933" cy="3576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4323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27296" y="1728538"/>
            <a:ext cx="3416704" cy="1634323"/>
          </a:xfrm>
          <a:prstGeom prst="rect">
            <a:avLst/>
          </a:prstGeom>
        </p:spPr>
      </p:pic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4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8712796-50B9-418E-BD69-CA2F745E928E}"/>
              </a:ext>
            </a:extLst>
          </p:cNvPr>
          <p:cNvSpPr/>
          <p:nvPr/>
        </p:nvSpPr>
        <p:spPr>
          <a:xfrm>
            <a:off x="2694355" y="76599"/>
            <a:ext cx="359425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altLang="ru-RU" b="1" kern="0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и разработки стандартов </a:t>
            </a:r>
          </a:p>
          <a:p>
            <a:pPr algn="ctr"/>
            <a:r>
              <a:rPr lang="ru-RU" altLang="ru-RU" b="1" kern="0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 реализации </a:t>
            </a:r>
            <a:r>
              <a:rPr lang="ru-RU" altLang="ru-RU" b="1" kern="0" dirty="0" smtClean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ов</a:t>
            </a:r>
            <a:endParaRPr lang="ru-RU" sz="14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17"/>
          <p:cNvSpPr txBox="1">
            <a:spLocks noChangeArrowheads="1"/>
          </p:cNvSpPr>
          <p:nvPr/>
        </p:nvSpPr>
        <p:spPr bwMode="auto">
          <a:xfrm>
            <a:off x="136632" y="4059470"/>
            <a:ext cx="8085473" cy="826776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7260" tIns="43630" rIns="87260" bIns="43630">
            <a:spAutoFit/>
          </a:bodyPr>
          <a:lstStyle>
            <a:defPPr>
              <a:defRPr lang="ru-RU"/>
            </a:defPPr>
            <a:lvl1pPr defTabSz="871538" eaLnBrk="0" hangingPunct="0">
              <a:defRPr sz="2000" b="1">
                <a:latin typeface="Arial" pitchFamily="34" charset="0"/>
              </a:defRPr>
            </a:lvl1pPr>
            <a:lvl2pPr marL="268288" lvl="1" indent="-268288" algn="just" defTabSz="871538" eaLnBrk="0" fontAlgn="base" hangingPunct="0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  <a:defRPr sz="2000" b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defTabSz="871538" eaLnBrk="0" hangingPunct="0">
              <a:defRPr sz="2000" b="1">
                <a:latin typeface="Arial" pitchFamily="34" charset="0"/>
              </a:defRPr>
            </a:lvl3pPr>
            <a:lvl4pPr marL="1600200" indent="-228600" defTabSz="871538" eaLnBrk="0" hangingPunct="0">
              <a:defRPr sz="2000" b="1">
                <a:latin typeface="Arial" pitchFamily="34" charset="0"/>
              </a:defRPr>
            </a:lvl4pPr>
            <a:lvl5pPr marL="2057400" indent="-228600" defTabSz="871538" eaLnBrk="0" hangingPunct="0">
              <a:defRPr sz="2000" b="1">
                <a:latin typeface="Arial" pitchFamily="34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pitchFamily="34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pitchFamily="34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pitchFamily="34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pitchFamily="34" charset="0"/>
              </a:defRPr>
            </a:lvl9pPr>
          </a:lstStyle>
          <a:p>
            <a:pPr marL="268288" marR="0" lvl="1" indent="-268288" algn="just" defTabSz="871538" eaLnBrk="0" fontAlgn="base" latinLnBrk="0" hangingPunct="0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 typeface="Symbol Set SWA" pitchFamily="18" charset="2"/>
              <a:buNone/>
              <a:tabLst/>
              <a:defRPr/>
            </a:pPr>
            <a:r>
              <a:rPr kumimoji="0" lang="ru-RU" alt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тандарт </a:t>
            </a:r>
            <a:r>
              <a:rPr kumimoji="0" lang="ru-RU" alt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- максимально простой и быстрый способ, из известных </a:t>
            </a:r>
            <a:r>
              <a:rPr kumimoji="0" lang="ru-RU" alt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kumimoji="0" lang="ru-RU" alt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егодняшний день, по выполнению </a:t>
            </a:r>
            <a:r>
              <a:rPr kumimoji="0" lang="ru-RU" alt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операций процесса </a:t>
            </a:r>
            <a:r>
              <a:rPr kumimoji="0" lang="ru-RU" alt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 заданными параметрами качества при минимальных затратах.</a:t>
            </a:r>
            <a:endParaRPr kumimoji="0" lang="de-DE" alt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AC18C40A-7E99-4534-8AC7-136050652A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6632" y="1270842"/>
            <a:ext cx="726761" cy="279390"/>
          </a:xfrm>
          <a:prstGeom prst="homePlate">
            <a:avLst>
              <a:gd name="adj" fmla="val 71530"/>
            </a:avLst>
          </a:prstGeom>
          <a:solidFill>
            <a:srgbClr val="EAEAEA"/>
          </a:solidFill>
          <a:ln w="9525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anchor="ctr"/>
          <a:lstStyle/>
          <a:p>
            <a:pPr marL="0" marR="0" lvl="0" indent="0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3" b="0" i="0" u="none" strike="noStrike" kern="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7" name="AutoShape 4">
            <a:extLst>
              <a:ext uri="{FF2B5EF4-FFF2-40B4-BE49-F238E27FC236}">
                <a16:creationId xmlns:a16="http://schemas.microsoft.com/office/drawing/2014/main" id="{CE64D709-5F35-48EC-BDC5-2DF6D5374B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6632" y="1737766"/>
            <a:ext cx="726761" cy="279390"/>
          </a:xfrm>
          <a:prstGeom prst="homePlate">
            <a:avLst>
              <a:gd name="adj" fmla="val 71530"/>
            </a:avLst>
          </a:prstGeom>
          <a:solidFill>
            <a:srgbClr val="EAEAEA"/>
          </a:solidFill>
          <a:ln w="9525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anchor="ctr"/>
          <a:lstStyle/>
          <a:p>
            <a:pPr marL="0" marR="0" lvl="0" indent="0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3" b="0" i="0" u="none" strike="noStrike" kern="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8" name="AutoShape 5">
            <a:extLst>
              <a:ext uri="{FF2B5EF4-FFF2-40B4-BE49-F238E27FC236}">
                <a16:creationId xmlns:a16="http://schemas.microsoft.com/office/drawing/2014/main" id="{119B034F-2CF4-4802-AB69-053ED8861A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6632" y="2205979"/>
            <a:ext cx="726761" cy="279390"/>
          </a:xfrm>
          <a:prstGeom prst="homePlate">
            <a:avLst>
              <a:gd name="adj" fmla="val 71530"/>
            </a:avLst>
          </a:prstGeom>
          <a:solidFill>
            <a:srgbClr val="EAEAEA"/>
          </a:solidFill>
          <a:ln w="9525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anchor="ctr"/>
          <a:lstStyle/>
          <a:p>
            <a:pPr marL="0" marR="0" lvl="0" indent="0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3" b="0" i="0" u="none" strike="noStrike" kern="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9" name="AutoShape 6">
            <a:extLst>
              <a:ext uri="{FF2B5EF4-FFF2-40B4-BE49-F238E27FC236}">
                <a16:creationId xmlns:a16="http://schemas.microsoft.com/office/drawing/2014/main" id="{B2C397C0-1A18-4B91-8CEA-915154E311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6632" y="2675482"/>
            <a:ext cx="726761" cy="279390"/>
          </a:xfrm>
          <a:prstGeom prst="homePlate">
            <a:avLst>
              <a:gd name="adj" fmla="val 71530"/>
            </a:avLst>
          </a:prstGeom>
          <a:solidFill>
            <a:srgbClr val="EAEAEA"/>
          </a:solidFill>
          <a:ln w="9525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anchor="ctr"/>
          <a:lstStyle/>
          <a:p>
            <a:pPr marL="0" marR="0" lvl="0" indent="0" defTabSz="74295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3" b="0" i="0" u="none" strike="noStrike" kern="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1" name="AutoShape 7">
            <a:extLst>
              <a:ext uri="{FF2B5EF4-FFF2-40B4-BE49-F238E27FC236}">
                <a16:creationId xmlns:a16="http://schemas.microsoft.com/office/drawing/2014/main" id="{EA40321C-193C-4AF2-A16A-5359D918B2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6632" y="3143695"/>
            <a:ext cx="726761" cy="279390"/>
          </a:xfrm>
          <a:prstGeom prst="homePlate">
            <a:avLst>
              <a:gd name="adj" fmla="val 71530"/>
            </a:avLst>
          </a:prstGeom>
          <a:solidFill>
            <a:srgbClr val="EAEAEA"/>
          </a:solidFill>
          <a:ln w="9525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anchor="ctr"/>
          <a:lstStyle/>
          <a:p>
            <a:pPr marL="0" marR="0" lvl="0" indent="0" defTabSz="74295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3" b="0" i="0" u="none" strike="noStrike" kern="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2" name="Rectangle 12">
            <a:extLst>
              <a:ext uri="{FF2B5EF4-FFF2-40B4-BE49-F238E27FC236}">
                <a16:creationId xmlns:a16="http://schemas.microsoft.com/office/drawing/2014/main" id="{F1E58337-FFD3-4716-B888-F04332F487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9039" y="1204030"/>
            <a:ext cx="4610666" cy="415591"/>
          </a:xfrm>
          <a:prstGeom prst="rect">
            <a:avLst/>
          </a:prstGeom>
          <a:solidFill>
            <a:srgbClr val="C1D6F5"/>
          </a:solidFill>
          <a:ln w="12700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anchor="ctr"/>
          <a:lstStyle>
            <a:lvl1pPr marL="342900" indent="-3429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2900" marR="0" lvl="0" indent="-342900" defTabSz="74295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63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cs typeface="Arial" panose="020B0604020202020204" pitchFamily="34" charset="0"/>
              </a:rPr>
              <a:t>Управлять качеством процесса</a:t>
            </a:r>
            <a:endParaRPr kumimoji="0" lang="en-US" altLang="ru-RU" sz="1463" b="0" i="0" u="none" strike="noStrike" kern="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13" name="Rectangle 13">
            <a:extLst>
              <a:ext uri="{FF2B5EF4-FFF2-40B4-BE49-F238E27FC236}">
                <a16:creationId xmlns:a16="http://schemas.microsoft.com/office/drawing/2014/main" id="{E5DC0F93-1E2A-4025-A04F-881DC05C4E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9039" y="1672243"/>
            <a:ext cx="4610666" cy="415591"/>
          </a:xfrm>
          <a:prstGeom prst="rect">
            <a:avLst/>
          </a:prstGeom>
          <a:solidFill>
            <a:srgbClr val="C1D6F5"/>
          </a:solidFill>
          <a:ln w="12700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anchor="ctr"/>
          <a:lstStyle>
            <a:lvl1pPr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74295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63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cs typeface="Arial" panose="020B0604020202020204" pitchFamily="34" charset="0"/>
              </a:rPr>
              <a:t>Быть </a:t>
            </a:r>
            <a:r>
              <a:rPr kumimoji="0" lang="ru-RU" altLang="ru-RU" sz="1463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cs typeface="Arial" panose="020B0604020202020204" pitchFamily="34" charset="0"/>
              </a:rPr>
              <a:t>основой </a:t>
            </a:r>
            <a:r>
              <a:rPr kumimoji="0" lang="ru-RU" altLang="ru-RU" sz="1463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cs typeface="Arial" panose="020B0604020202020204" pitchFamily="34" charset="0"/>
              </a:rPr>
              <a:t>для будущих улучшений </a:t>
            </a:r>
            <a:endParaRPr kumimoji="0" lang="en-US" altLang="ru-RU" sz="1463" b="0" i="0" u="none" strike="noStrike" kern="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25761123-1C3E-4A0D-A998-0AB3616834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9039" y="2139167"/>
            <a:ext cx="4610666" cy="415591"/>
          </a:xfrm>
          <a:prstGeom prst="rect">
            <a:avLst/>
          </a:prstGeom>
          <a:solidFill>
            <a:srgbClr val="C1D6F5"/>
          </a:solidFill>
          <a:ln w="12700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anchor="ctr"/>
          <a:lstStyle>
            <a:lvl1pPr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74295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63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cs typeface="Arial" panose="020B0604020202020204" pitchFamily="34" charset="0"/>
              </a:rPr>
              <a:t>Предотвращать проблемы</a:t>
            </a:r>
            <a:endParaRPr kumimoji="0" lang="en-US" altLang="ru-RU" sz="1463" b="0" i="0" u="none" strike="noStrike" kern="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15" name="Rectangle 19">
            <a:extLst>
              <a:ext uri="{FF2B5EF4-FFF2-40B4-BE49-F238E27FC236}">
                <a16:creationId xmlns:a16="http://schemas.microsoft.com/office/drawing/2014/main" id="{A7E93458-5B1D-49F2-A669-D9733B6CC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9039" y="2607380"/>
            <a:ext cx="4610666" cy="415591"/>
          </a:xfrm>
          <a:prstGeom prst="rect">
            <a:avLst/>
          </a:prstGeom>
          <a:solidFill>
            <a:srgbClr val="C1D6F5"/>
          </a:solidFill>
          <a:ln w="12700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anchor="ctr"/>
          <a:lstStyle>
            <a:lvl1pPr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74295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63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cs typeface="Arial" panose="020B0604020202020204" pitchFamily="34" charset="0"/>
              </a:rPr>
              <a:t>Облегчать обучение и управление</a:t>
            </a:r>
            <a:endParaRPr kumimoji="0" lang="en-US" altLang="ru-RU" sz="1463" b="0" i="0" u="none" strike="noStrike" kern="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16" name="Rectangle 20">
            <a:extLst>
              <a:ext uri="{FF2B5EF4-FFF2-40B4-BE49-F238E27FC236}">
                <a16:creationId xmlns:a16="http://schemas.microsoft.com/office/drawing/2014/main" id="{BA1F31F4-381C-4474-906A-D602116429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9039" y="3075594"/>
            <a:ext cx="4610666" cy="415591"/>
          </a:xfrm>
          <a:prstGeom prst="rect">
            <a:avLst/>
          </a:prstGeom>
          <a:solidFill>
            <a:srgbClr val="C1D6F5"/>
          </a:solidFill>
          <a:ln w="12700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anchor="ctr"/>
          <a:lstStyle>
            <a:lvl1pPr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74295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63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cs typeface="Arial" panose="020B0604020202020204" pitchFamily="34" charset="0"/>
              </a:rPr>
              <a:t>Служить базой для расчета норм и планирования</a:t>
            </a:r>
            <a:endParaRPr kumimoji="0" lang="en-US" altLang="ru-RU" sz="1463" b="0" i="0" u="none" strike="noStrike" kern="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AC18C40A-7E99-4534-8AC7-136050652A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6632" y="814435"/>
            <a:ext cx="726761" cy="279390"/>
          </a:xfrm>
          <a:prstGeom prst="homePlate">
            <a:avLst>
              <a:gd name="adj" fmla="val 71530"/>
            </a:avLst>
          </a:prstGeom>
          <a:solidFill>
            <a:srgbClr val="00B050"/>
          </a:solidFill>
          <a:ln w="9525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anchor="ctr"/>
          <a:lstStyle/>
          <a:p>
            <a:pPr marL="0" marR="0" lvl="0" indent="0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63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kumimoji="0" lang="en-US" sz="1463" b="0" i="0" u="none" strike="noStrike" kern="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2">
            <a:extLst>
              <a:ext uri="{FF2B5EF4-FFF2-40B4-BE49-F238E27FC236}">
                <a16:creationId xmlns:a16="http://schemas.microsoft.com/office/drawing/2014/main" id="{F1E58337-FFD3-4716-B888-F04332F487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9039" y="766707"/>
            <a:ext cx="4610666" cy="415591"/>
          </a:xfrm>
          <a:prstGeom prst="rect">
            <a:avLst/>
          </a:prstGeom>
          <a:solidFill>
            <a:srgbClr val="00B050"/>
          </a:solidFill>
          <a:ln w="12700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anchor="ctr"/>
          <a:lstStyle>
            <a:lvl1pPr marL="342900" indent="-3429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278606" marR="0" lvl="0" indent="-278606" defTabSz="74295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63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cs typeface="Arial" panose="020B0604020202020204" pitchFamily="34" charset="0"/>
              </a:rPr>
              <a:t>Предотвратить откат к первоначальной ситуации</a:t>
            </a:r>
            <a:endParaRPr kumimoji="0" lang="ru-RU" altLang="ru-RU" sz="146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20" name="AutoShape 7">
            <a:extLst>
              <a:ext uri="{FF2B5EF4-FFF2-40B4-BE49-F238E27FC236}">
                <a16:creationId xmlns:a16="http://schemas.microsoft.com/office/drawing/2014/main" id="{E0DF0104-472D-45C6-8C2C-BDFF435230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517" y="3603063"/>
            <a:ext cx="726761" cy="279390"/>
          </a:xfrm>
          <a:prstGeom prst="homePlate">
            <a:avLst>
              <a:gd name="adj" fmla="val 71530"/>
            </a:avLst>
          </a:prstGeom>
          <a:solidFill>
            <a:srgbClr val="EAEAEA"/>
          </a:solidFill>
          <a:ln w="9525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anchor="ctr"/>
          <a:lstStyle/>
          <a:p>
            <a:pPr marL="0" marR="0" lvl="0" indent="0" defTabSz="74295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63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kumimoji="0" lang="en-US" sz="1463" b="0" i="0" u="none" strike="noStrike" kern="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AA67231-DD81-4755-8362-BB9CBF5EBC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7924" y="3534962"/>
            <a:ext cx="4610666" cy="415591"/>
          </a:xfrm>
          <a:prstGeom prst="rect">
            <a:avLst/>
          </a:prstGeom>
          <a:solidFill>
            <a:srgbClr val="C1D6F5"/>
          </a:solidFill>
          <a:ln w="12700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anchor="ctr"/>
          <a:lstStyle>
            <a:lvl1pPr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74295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63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cs typeface="Arial" panose="020B0604020202020204" pitchFamily="34" charset="0"/>
              </a:rPr>
              <a:t>Служить основной для разного рода аудитов</a:t>
            </a:r>
            <a:endParaRPr kumimoji="0" lang="en-US" altLang="ru-RU" sz="1463" b="0" i="0" u="none" strike="noStrike" kern="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2468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5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4" name="Text Box 17"/>
          <p:cNvSpPr txBox="1">
            <a:spLocks noChangeArrowheads="1"/>
          </p:cNvSpPr>
          <p:nvPr/>
        </p:nvSpPr>
        <p:spPr bwMode="auto">
          <a:xfrm>
            <a:off x="4398383" y="3728825"/>
            <a:ext cx="4596882" cy="949887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7260" tIns="43630" rIns="87260" bIns="43630">
            <a:spAutoFit/>
          </a:bodyPr>
          <a:lstStyle>
            <a:lvl1pPr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68288" lvl="1" indent="-268288" algn="just" fontAlgn="base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</a:pPr>
            <a:r>
              <a:rPr lang="ru-RU" altLang="ru-RU" sz="1400" dirty="0">
                <a:solidFill>
                  <a:srgbClr val="0070C0"/>
                </a:solidFill>
                <a:cs typeface="Arial" panose="020B0604020202020204" pitchFamily="34" charset="0"/>
              </a:rPr>
              <a:t>ППУ (</a:t>
            </a:r>
            <a:r>
              <a:rPr lang="ru-RU" altLang="ru-RU" sz="1400" dirty="0" err="1">
                <a:solidFill>
                  <a:srgbClr val="0070C0"/>
                </a:solidFill>
                <a:cs typeface="Arial" panose="020B0604020202020204" pitchFamily="34" charset="0"/>
              </a:rPr>
              <a:t>лайфхак</a:t>
            </a:r>
            <a:r>
              <a:rPr lang="ru-RU" altLang="ru-RU" sz="1400" dirty="0">
                <a:solidFill>
                  <a:srgbClr val="0070C0"/>
                </a:solidFill>
                <a:cs typeface="Arial" panose="020B0604020202020204" pitchFamily="34" charset="0"/>
              </a:rPr>
              <a:t>, </a:t>
            </a:r>
            <a:r>
              <a:rPr lang="ru-RU" altLang="ru-RU" sz="1400" dirty="0" err="1">
                <a:solidFill>
                  <a:srgbClr val="0070C0"/>
                </a:solidFill>
                <a:cs typeface="Arial" panose="020B0604020202020204" pitchFamily="34" charset="0"/>
              </a:rPr>
              <a:t>кайзен</a:t>
            </a:r>
            <a:r>
              <a:rPr lang="ru-RU" altLang="ru-RU" sz="1400" dirty="0">
                <a:solidFill>
                  <a:srgbClr val="0070C0"/>
                </a:solidFill>
                <a:cs typeface="Arial" panose="020B0604020202020204" pitchFamily="34" charset="0"/>
              </a:rPr>
              <a:t>) </a:t>
            </a:r>
            <a:r>
              <a:rPr lang="ru-RU" altLang="ru-RU" sz="1400" dirty="0">
                <a:solidFill>
                  <a:srgbClr val="000000"/>
                </a:solidFill>
                <a:cs typeface="Arial" panose="020B0604020202020204" pitchFamily="34" charset="0"/>
              </a:rPr>
              <a:t>– </a:t>
            </a:r>
            <a:r>
              <a:rPr lang="ru-RU" altLang="ru-RU" sz="1400" b="0" dirty="0">
                <a:solidFill>
                  <a:srgbClr val="000000"/>
                </a:solidFill>
                <a:cs typeface="Arial" panose="020B0604020202020204" pitchFamily="34" charset="0"/>
              </a:rPr>
              <a:t>отдельные самоценные улучшения, не требующие пересмотра стандарта, но существенно повышающие эффективность в отдельном элементе стандарта</a:t>
            </a:r>
            <a:endParaRPr lang="de-DE" altLang="ru-RU" sz="1600" b="0" dirty="0">
              <a:solidFill>
                <a:srgbClr val="3F3F5D"/>
              </a:solidFill>
              <a:cs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66063AD-2B24-4AC9-95ED-B8DC71C0715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844" b="7116"/>
          <a:stretch/>
        </p:blipFill>
        <p:spPr>
          <a:xfrm>
            <a:off x="4435223" y="838863"/>
            <a:ext cx="4523202" cy="2693950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CB34018-61F6-4727-9B1A-41560EBB6D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862" t="23536" r="1265"/>
          <a:stretch/>
        </p:blipFill>
        <p:spPr>
          <a:xfrm>
            <a:off x="246446" y="695148"/>
            <a:ext cx="4055731" cy="417247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1538516" y="185493"/>
            <a:ext cx="5290456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1400" b="1" kern="0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ы стандартов: предложения по улучшению (ППУ)</a:t>
            </a:r>
            <a:endParaRPr lang="en-GB" sz="1400" b="1" kern="0" dirty="0">
              <a:solidFill>
                <a:srgbClr val="0032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17888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6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1074809" y="219244"/>
            <a:ext cx="5064734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2000" b="1" kern="0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ы стандартов: памятка  </a:t>
            </a:r>
            <a:endParaRPr lang="en-GB" sz="2000" b="1" kern="0" dirty="0">
              <a:solidFill>
                <a:srgbClr val="0032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Box 17">
            <a:extLst>
              <a:ext uri="{FF2B5EF4-FFF2-40B4-BE49-F238E27FC236}">
                <a16:creationId xmlns:a16="http://schemas.microsoft.com/office/drawing/2014/main" id="{EE7AE775-8161-46D0-B2C5-B59222F3D9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3015" y="2692399"/>
            <a:ext cx="5515005" cy="2057882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7260" tIns="43630" rIns="87260" bIns="43630">
            <a:spAutoFit/>
          </a:bodyPr>
          <a:lstStyle>
            <a:defPPr>
              <a:defRPr lang="ru-RU"/>
            </a:defPPr>
            <a:lvl1pPr defTabSz="871538" eaLnBrk="0" hangingPunct="0">
              <a:defRPr sz="2000" b="1">
                <a:latin typeface="Arial" pitchFamily="34" charset="0"/>
              </a:defRPr>
            </a:lvl1pPr>
            <a:lvl2pPr marL="268288" lvl="1" indent="-268288" algn="just" defTabSz="871538" eaLnBrk="0" fontAlgn="base" hangingPunct="0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  <a:defRPr sz="2000" b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defTabSz="871538" eaLnBrk="0" hangingPunct="0">
              <a:defRPr sz="2000" b="1">
                <a:latin typeface="Arial" pitchFamily="34" charset="0"/>
              </a:defRPr>
            </a:lvl3pPr>
            <a:lvl4pPr marL="1600200" indent="-228600" defTabSz="871538" eaLnBrk="0" hangingPunct="0">
              <a:defRPr sz="2000" b="1">
                <a:latin typeface="Arial" pitchFamily="34" charset="0"/>
              </a:defRPr>
            </a:lvl4pPr>
            <a:lvl5pPr marL="2057400" indent="-228600" defTabSz="871538" eaLnBrk="0" hangingPunct="0">
              <a:defRPr sz="2000" b="1">
                <a:latin typeface="Arial" pitchFamily="34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pitchFamily="34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pitchFamily="34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pitchFamily="34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pitchFamily="34" charset="0"/>
              </a:defRPr>
            </a:lvl9pPr>
          </a:lstStyle>
          <a:p>
            <a:pPr lvl="1"/>
            <a:r>
              <a:rPr lang="ru-RU" altLang="ru-RU" sz="16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мятка (инструкция, «шпаргалка») </a:t>
            </a:r>
            <a:r>
              <a:rPr lang="ru-RU" altLang="ru-RU" sz="1600" b="0" dirty="0">
                <a:latin typeface="Arial" panose="020B0604020202020204" pitchFamily="34" charset="0"/>
                <a:cs typeface="Arial" panose="020B0604020202020204" pitchFamily="34" charset="0"/>
              </a:rPr>
              <a:t>– упрощенная последовательность действий, необходимая к применению в том или ином месте процесса. Иногда это «урок на одном листе» - сжатая и визуализированная </a:t>
            </a:r>
            <a:r>
              <a:rPr lang="ru-RU" altLang="ru-RU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информация, </a:t>
            </a:r>
            <a:r>
              <a:rPr lang="ru-RU" altLang="ru-RU" sz="1600" b="0" dirty="0">
                <a:latin typeface="Arial" panose="020B0604020202020204" pitchFamily="34" charset="0"/>
                <a:cs typeface="Arial" panose="020B0604020202020204" pitchFamily="34" charset="0"/>
              </a:rPr>
              <a:t>удобная для пользования и упрощающая восприятие. Встречаются удачные случаи памяток в форме комиксов и разного рода «веселых картинок»</a:t>
            </a:r>
            <a:endParaRPr lang="de-DE" altLang="ru-RU"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AADF23F-DFC1-4D5F-8073-9414B63CAC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999" y="687265"/>
            <a:ext cx="2721631" cy="1794678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8D82188-B670-4DBE-AD62-FEAE388B70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6878" y="647872"/>
            <a:ext cx="3021736" cy="1906642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2677662-029E-433D-86A1-735B8F10BB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9543" y="2899590"/>
            <a:ext cx="2664116" cy="1596654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B91F5CB6-A015-447F-99B6-AE148BDF89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5110" y="837510"/>
            <a:ext cx="2664116" cy="1854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5335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7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1341119" y="255530"/>
            <a:ext cx="5387003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b="1" kern="0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ы стандартов: типовая форма  </a:t>
            </a:r>
            <a:endParaRPr lang="en-GB" b="1" kern="0" dirty="0">
              <a:solidFill>
                <a:srgbClr val="0032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17"/>
          <p:cNvSpPr txBox="1">
            <a:spLocks noChangeArrowheads="1"/>
          </p:cNvSpPr>
          <p:nvPr/>
        </p:nvSpPr>
        <p:spPr bwMode="auto">
          <a:xfrm>
            <a:off x="387964" y="3653636"/>
            <a:ext cx="8358529" cy="949887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7260" tIns="43630" rIns="87260" bIns="43630">
            <a:spAutoFit/>
          </a:bodyPr>
          <a:lstStyle>
            <a:lvl1pPr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442913" lvl="1" indent="-442913" algn="just" fontAlgn="base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</a:pPr>
            <a:r>
              <a:rPr lang="ru-RU" altLang="ru-RU" sz="1400" dirty="0">
                <a:solidFill>
                  <a:srgbClr val="0070C0"/>
                </a:solidFill>
                <a:cs typeface="Arial" panose="020B0604020202020204" pitchFamily="34" charset="0"/>
              </a:rPr>
              <a:t>Типовая форма (шаблон) </a:t>
            </a:r>
            <a:r>
              <a:rPr lang="ru-RU" altLang="ru-RU" sz="1400" b="0" dirty="0">
                <a:solidFill>
                  <a:srgbClr val="000000"/>
                </a:solidFill>
                <a:cs typeface="Arial" panose="020B0604020202020204" pitchFamily="34" charset="0"/>
              </a:rPr>
              <a:t>создается для упорядочивания информационных потоков. Грамотно составленный шаблон позволит собирать информацию по заданной структуре. Если шаблон сделать «жестким» (н-р: в при заполнении в электронном виде программа не дает отправить </a:t>
            </a:r>
            <a:r>
              <a:rPr lang="ru-RU" altLang="ru-RU" sz="1400" b="0" dirty="0" err="1">
                <a:solidFill>
                  <a:srgbClr val="000000"/>
                </a:solidFill>
                <a:cs typeface="Arial" panose="020B0604020202020204" pitchFamily="34" charset="0"/>
              </a:rPr>
              <a:t>недозаполненный</a:t>
            </a:r>
            <a:r>
              <a:rPr lang="ru-RU" altLang="ru-RU" sz="1400" b="0" dirty="0">
                <a:solidFill>
                  <a:srgbClr val="000000"/>
                </a:solidFill>
                <a:cs typeface="Arial" panose="020B0604020202020204" pitchFamily="34" charset="0"/>
              </a:rPr>
              <a:t> шаблон), то это позволит не забыть ключевую информацию.  </a:t>
            </a:r>
            <a:endParaRPr lang="de-DE" altLang="ru-RU" sz="1400" b="0" dirty="0">
              <a:solidFill>
                <a:srgbClr val="3F3F5D"/>
              </a:solidFill>
              <a:cs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C28ABCA-CE80-4DAC-8944-E57C3C3060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32703"/>
            <a:ext cx="8954979" cy="274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3021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8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428923" y="3117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1600" b="1" kern="0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ы стандартов: СОК </a:t>
            </a:r>
            <a:endParaRPr lang="en-GB" sz="1600" b="1" kern="0" dirty="0">
              <a:solidFill>
                <a:srgbClr val="0032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17"/>
          <p:cNvSpPr txBox="1">
            <a:spLocks noChangeArrowheads="1"/>
          </p:cNvSpPr>
          <p:nvPr/>
        </p:nvSpPr>
        <p:spPr bwMode="auto">
          <a:xfrm>
            <a:off x="84497" y="3944269"/>
            <a:ext cx="8817048" cy="734443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7260" tIns="43630" rIns="87260" bIns="43630">
            <a:spAutoFit/>
          </a:bodyPr>
          <a:lstStyle>
            <a:lvl1pPr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68288" lvl="1" indent="-268288" algn="just" fontAlgn="base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</a:pPr>
            <a:r>
              <a:rPr lang="ru-RU" altLang="ru-RU" sz="1400" dirty="0">
                <a:solidFill>
                  <a:srgbClr val="0070C0"/>
                </a:solidFill>
                <a:cs typeface="Arial" panose="020B0604020202020204" pitchFamily="34" charset="0"/>
              </a:rPr>
              <a:t>Стандартная операционная карта </a:t>
            </a:r>
            <a:r>
              <a:rPr lang="ru-RU" altLang="ru-RU" sz="1400" b="0" dirty="0">
                <a:solidFill>
                  <a:srgbClr val="000000"/>
                </a:solidFill>
                <a:cs typeface="Arial" panose="020B0604020202020204" pitchFamily="34" charset="0"/>
              </a:rPr>
              <a:t>– визуализированная последовательность выполнения операции, с указанием последовательности шагов и их времени, необходимых инструментов и приспособлений, схемы движения оператора, точек контроля, ссылок на техническую документацию и др. </a:t>
            </a:r>
            <a:endParaRPr lang="de-DE" altLang="ru-RU" sz="1400" b="0" dirty="0">
              <a:solidFill>
                <a:srgbClr val="3F3F5D"/>
              </a:solidFill>
              <a:cs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74CC152-2FE4-453E-9D13-2281DCA7A5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479" y="725299"/>
            <a:ext cx="3819314" cy="311196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533E680-009D-4E09-9166-F55BE33DB2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2391" y="725299"/>
            <a:ext cx="4617909" cy="3111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7446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 txBox="1">
            <a:spLocks/>
          </p:cNvSpPr>
          <p:nvPr/>
        </p:nvSpPr>
        <p:spPr>
          <a:xfrm>
            <a:off x="8432962" y="4678712"/>
            <a:ext cx="627062" cy="377825"/>
          </a:xfr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9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72159" y="748483"/>
            <a:ext cx="3480170" cy="2504662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369455" y="319855"/>
            <a:ext cx="7278254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1600" b="1" kern="0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ы стандартов: руководящие методические документы (РМД)</a:t>
            </a:r>
            <a:endParaRPr lang="en-GB" sz="1600" b="1" kern="0" dirty="0">
              <a:solidFill>
                <a:srgbClr val="0032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Box 17"/>
          <p:cNvSpPr txBox="1">
            <a:spLocks noChangeArrowheads="1"/>
          </p:cNvSpPr>
          <p:nvPr/>
        </p:nvSpPr>
        <p:spPr bwMode="auto">
          <a:xfrm>
            <a:off x="244395" y="3448264"/>
            <a:ext cx="8664078" cy="1165330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7260" tIns="43630" rIns="87260" bIns="43630">
            <a:spAutoFit/>
          </a:bodyPr>
          <a:lstStyle>
            <a:lvl1pPr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68288" lvl="1" indent="-268288" algn="just" fontAlgn="base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</a:pPr>
            <a:r>
              <a:rPr lang="ru-RU" altLang="ru-RU" sz="1400" dirty="0">
                <a:solidFill>
                  <a:srgbClr val="0070C0"/>
                </a:solidFill>
                <a:cs typeface="Arial" panose="020B0604020202020204" pitchFamily="34" charset="0"/>
              </a:rPr>
              <a:t>РМД </a:t>
            </a:r>
            <a:r>
              <a:rPr lang="ru-RU" altLang="ru-RU" sz="1400" dirty="0" smtClean="0">
                <a:solidFill>
                  <a:srgbClr val="0070C0"/>
                </a:solidFill>
                <a:cs typeface="Arial" panose="020B0604020202020204" pitchFamily="34" charset="0"/>
              </a:rPr>
              <a:t>(методические указания, методические рекомендации, </a:t>
            </a:r>
            <a:r>
              <a:rPr lang="ru-RU" altLang="ru-RU" sz="1400" dirty="0">
                <a:solidFill>
                  <a:srgbClr val="0070C0"/>
                </a:solidFill>
                <a:cs typeface="Arial" panose="020B0604020202020204" pitchFamily="34" charset="0"/>
              </a:rPr>
              <a:t>руководящие указания, регламенты) </a:t>
            </a:r>
            <a:r>
              <a:rPr lang="ru-RU" altLang="ru-RU" sz="1400" b="0" dirty="0">
                <a:solidFill>
                  <a:srgbClr val="000000"/>
                </a:solidFill>
                <a:cs typeface="Arial" panose="020B0604020202020204" pitchFamily="34" charset="0"/>
              </a:rPr>
              <a:t>– стандарты организации, определяющие ее деятельность или деятельность отдельных процессов (потоков), глубокие и масштабные документы, отражающие подходы к комплексной деятельности. В процессе реализации </a:t>
            </a:r>
            <a:r>
              <a:rPr lang="ru-RU" altLang="ru-RU" sz="1400" b="0" dirty="0" err="1">
                <a:solidFill>
                  <a:srgbClr val="000000"/>
                </a:solidFill>
                <a:cs typeface="Arial" panose="020B0604020202020204" pitchFamily="34" charset="0"/>
              </a:rPr>
              <a:t>лин</a:t>
            </a:r>
            <a:r>
              <a:rPr lang="ru-RU" altLang="ru-RU" sz="1400" b="0" dirty="0">
                <a:solidFill>
                  <a:srgbClr val="000000"/>
                </a:solidFill>
                <a:cs typeface="Arial" panose="020B0604020202020204" pitchFamily="34" charset="0"/>
              </a:rPr>
              <a:t>-проектов практикуются изменения в нормативную и сопроводительную документацию организаций (РКД,</a:t>
            </a:r>
            <a:r>
              <a:rPr lang="en-US" altLang="ru-RU" sz="1400" b="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ru-RU" altLang="ru-RU" sz="1400" b="0" dirty="0">
                <a:solidFill>
                  <a:srgbClr val="000000"/>
                </a:solidFill>
                <a:cs typeface="Arial" panose="020B0604020202020204" pitchFamily="34" charset="0"/>
              </a:rPr>
              <a:t>технологии и пр.)</a:t>
            </a:r>
            <a:endParaRPr lang="de-DE" altLang="ru-RU" sz="1400" b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E37BEF2-B438-4622-9709-06681BCDF5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395" y="748483"/>
            <a:ext cx="1822816" cy="2528423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B2C6618-0889-4593-9EFF-C37B2C0B5D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7277" y="748482"/>
            <a:ext cx="3019578" cy="2528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4833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3VHP13UUm8XDTpwpMO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3VHP13UUm8XDTpwpMO6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3VHP13UUm8XDTpwpMO6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3VHP13UUm8XDTpwpMO6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3VHP13UUm8XDTpwpMO6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3VHP13UUm8XDTpwpMO6w"/>
</p:tagLst>
</file>

<file path=ppt/theme/theme1.xml><?xml version="1.0" encoding="utf-8"?>
<a:theme xmlns:a="http://schemas.openxmlformats.org/drawingml/2006/main" name="Титу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541B8C7B-4633-2E45-B746-A05B8E1543F8}"/>
    </a:ext>
  </a:extLst>
</a:theme>
</file>

<file path=ppt/theme/theme10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Перебивочный слайд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6BE6B458-93C6-814D-A81B-47849E6A55A1}"/>
    </a:ext>
  </a:extLst>
</a:theme>
</file>

<file path=ppt/theme/theme3.xml><?xml version="1.0" encoding="utf-8"?>
<a:theme xmlns:a="http://schemas.openxmlformats.org/drawingml/2006/main" name="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4.xml><?xml version="1.0" encoding="utf-8"?>
<a:theme xmlns:a="http://schemas.openxmlformats.org/drawingml/2006/main" name="Текст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5.xml><?xml version="1.0" encoding="utf-8"?>
<a:theme xmlns:a="http://schemas.openxmlformats.org/drawingml/2006/main" name="Диаграммы">
  <a:themeElements>
    <a:clrScheme name="тема для слайдов с диаграммами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293D6D"/>
      </a:accent1>
      <a:accent2>
        <a:srgbClr val="456EA9"/>
      </a:accent2>
      <a:accent3>
        <a:srgbClr val="68B0E0"/>
      </a:accent3>
      <a:accent4>
        <a:srgbClr val="ACC44D"/>
      </a:accent4>
      <a:accent5>
        <a:srgbClr val="4C9D8D"/>
      </a:accent5>
      <a:accent6>
        <a:srgbClr val="7F7F7F"/>
      </a:accent6>
      <a:hlink>
        <a:srgbClr val="414042"/>
      </a:hlink>
      <a:folHlink>
        <a:srgbClr val="41404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6.xml><?xml version="1.0" encoding="utf-8"?>
<a:theme xmlns:a="http://schemas.openxmlformats.org/drawingml/2006/main" name="Текст диаграмма">
  <a:themeElements>
    <a:clrScheme name="тема для слайдов текст-диаграмма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EBA444"/>
      </a:accent1>
      <a:accent2>
        <a:srgbClr val="F06942"/>
      </a:accent2>
      <a:accent3>
        <a:srgbClr val="AD5483"/>
      </a:accent3>
      <a:accent4>
        <a:srgbClr val="456EA9"/>
      </a:accent4>
      <a:accent5>
        <a:srgbClr val="68B0E0"/>
      </a:accent5>
      <a:accent6>
        <a:srgbClr val="259789"/>
      </a:accent6>
      <a:hlink>
        <a:srgbClr val="414042"/>
      </a:hlink>
      <a:folHlink>
        <a:srgbClr val="41404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7.xml><?xml version="1.0" encoding="utf-8"?>
<a:theme xmlns:a="http://schemas.openxmlformats.org/drawingml/2006/main" name="Заключите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00DAE905-2894-9645-87E8-4A089C61D1E7}" vid="{BB001172-481D-5B4F-A54A-4F845D4C8301}"/>
    </a:ext>
  </a:extLst>
</a:theme>
</file>

<file path=ppt/theme/theme8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_16x9_white_template</Template>
  <TotalTime>3024</TotalTime>
  <Words>1368</Words>
  <Application>Microsoft Office PowerPoint</Application>
  <PresentationFormat>Произвольный</PresentationFormat>
  <Paragraphs>160</Paragraphs>
  <Slides>31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0</vt:i4>
      </vt:variant>
      <vt:variant>
        <vt:lpstr>Заголовки слайдов</vt:lpstr>
      </vt:variant>
      <vt:variant>
        <vt:i4>31</vt:i4>
      </vt:variant>
    </vt:vector>
  </HeadingPairs>
  <TitlesOfParts>
    <vt:vector size="45" baseType="lpstr">
      <vt:lpstr>Arial</vt:lpstr>
      <vt:lpstr>Calibri</vt:lpstr>
      <vt:lpstr>Rosatom Light</vt:lpstr>
      <vt:lpstr>Symbol Set SWA</vt:lpstr>
      <vt:lpstr>Титульный слайд</vt:lpstr>
      <vt:lpstr>Перебивочный слайд</vt:lpstr>
      <vt:lpstr>Текст картинка</vt:lpstr>
      <vt:lpstr>Текст</vt:lpstr>
      <vt:lpstr>Диаграммы</vt:lpstr>
      <vt:lpstr>Текст диаграмма</vt:lpstr>
      <vt:lpstr>Заключительный слайд</vt:lpstr>
      <vt:lpstr>b-default</vt:lpstr>
      <vt:lpstr>1_b-default</vt:lpstr>
      <vt:lpstr>2_b-defaul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на Хомякова</dc:creator>
  <cp:lastModifiedBy>Admin</cp:lastModifiedBy>
  <cp:revision>216</cp:revision>
  <dcterms:created xsi:type="dcterms:W3CDTF">2019-09-24T12:37:05Z</dcterms:created>
  <dcterms:modified xsi:type="dcterms:W3CDTF">2022-08-03T11:49:12Z</dcterms:modified>
</cp:coreProperties>
</file>